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2" r:id="rId10"/>
  </p:sldMasterIdLst>
  <p:notesMasterIdLst>
    <p:notesMasterId r:id="rId13"/>
  </p:notesMasterIdLst>
  <p:handoutMasterIdLst>
    <p:handoutMasterId r:id="rId14"/>
  </p:handoutMasterIdLst>
  <p:sldIdLst>
    <p:sldId id="256" r:id="rId11"/>
    <p:sldId id="262" r:id="rId12"/>
  </p:sldIdLst>
  <p:sldSz cx="12190413" cy="6858000"/>
  <p:notesSz cx="6858000" cy="9144000"/>
  <p:custDataLst>
    <p:tags r:id="rId15"/>
  </p:custDataLst>
  <p:defaultTextStyle>
    <a:defPPr>
      <a:defRPr lang="da-DK"/>
    </a:defPPr>
    <a:lvl1pPr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0000"/>
    <a:srgbClr val="000000"/>
    <a:srgbClr val="FFCC00"/>
    <a:srgbClr val="FF6600"/>
    <a:srgbClr val="FF0000"/>
    <a:srgbClr val="FF0099"/>
    <a:srgbClr val="CC3399"/>
    <a:srgbClr val="660066"/>
    <a:srgbClr val="66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0" autoAdjust="0"/>
    <p:restoredTop sz="97092" autoAdjust="0"/>
  </p:normalViewPr>
  <p:slideViewPr>
    <p:cSldViewPr showGuides="1">
      <p:cViewPr varScale="1">
        <p:scale>
          <a:sx n="65" d="100"/>
          <a:sy n="65" d="100"/>
        </p:scale>
        <p:origin x="532" y="4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1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/>
            </a:lvl1pPr>
          </a:lstStyle>
          <a:p>
            <a:fld id="{491ECFBD-4A0D-4BCF-98A8-E205F44719BF}" type="slidenum">
              <a:rPr lang="da-DK" smtClean="0">
                <a:latin typeface="Arial" panose="020B0604020202020204" pitchFamily="34" charset="0"/>
              </a:rPr>
              <a:pPr/>
              <a:t>‹#›</a:t>
            </a:fld>
            <a:endParaRPr lang="da-DK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8099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2588" y="685800"/>
            <a:ext cx="6092825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fld id="{C734BB09-483B-4C4B-A5A4-C02A22055B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778360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523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dirty="0" smtClean="0">
              <a:solidFill>
                <a:schemeClr val="tx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476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/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11" name="Logo white">
            <a:extLst>
              <a:ext uri="{FF2B5EF4-FFF2-40B4-BE49-F238E27FC236}">
                <a16:creationId xmlns:a16="http://schemas.microsoft.com/office/drawing/2014/main" id="{275A6477-FE3A-4D40-B1FE-E46C11E344A5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252000" y="252000"/>
            <a:ext cx="419611" cy="612000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859" y="3545117"/>
            <a:ext cx="10840028" cy="2706458"/>
          </a:xfrm>
        </p:spPr>
        <p:txBody>
          <a:bodyPr anchor="t" anchorCtr="0"/>
          <a:lstStyle>
            <a:lvl1pPr>
              <a:lnSpc>
                <a:spcPct val="93000"/>
              </a:lnSpc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7072" y="1704975"/>
            <a:ext cx="10840028" cy="1660654"/>
          </a:xfrm>
        </p:spPr>
        <p:txBody>
          <a:bodyPr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117C6C-7BC3-4888-BC29-FAB17565D1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E4668-D07F-4B96-9755-1754027348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214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/Pause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AF9D3C51-A276-4E1F-B6B6-FD6A4E17EE28}"/>
              </a:ext>
            </a:extLst>
          </p:cNvPr>
          <p:cNvSpPr/>
          <p:nvPr userDrawn="1"/>
        </p:nvSpPr>
        <p:spPr bwMode="auto"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C9776080-6230-4AB8-AB28-4D6744DD01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B7FFAE6-D148-4A15-9DFC-7D71B8202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125B57E-AFC7-4517-B327-461DB01D2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ogo color">
            <a:extLst>
              <a:ext uri="{FF2B5EF4-FFF2-40B4-BE49-F238E27FC236}">
                <a16:creationId xmlns:a16="http://schemas.microsoft.com/office/drawing/2014/main" id="{B0EE486B-843B-49D6-90AE-5093AB56E30F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4870539" y="1651373"/>
            <a:ext cx="2388323" cy="3483354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1786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/Paus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A3420087-96DF-432F-B192-585D42BF6A4E}"/>
              </a:ext>
            </a:extLst>
          </p:cNvPr>
          <p:cNvSpPr/>
          <p:nvPr userDrawn="1"/>
        </p:nvSpPr>
        <p:spPr bwMode="auto"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13" name="Logo color">
            <a:extLst>
              <a:ext uri="{FF2B5EF4-FFF2-40B4-BE49-F238E27FC236}">
                <a16:creationId xmlns:a16="http://schemas.microsoft.com/office/drawing/2014/main" id="{09BBEE10-6A59-474F-B766-7643F97F869F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4870539" y="1651373"/>
            <a:ext cx="2388323" cy="3483354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99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AF062B26-8169-4B93-8FD8-CFDB0855A9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CA59923C-6F09-424E-AF1E-AC62326A9B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C299FA2-BF46-4410-B2CD-E3C80B7A9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Bottom bar">
            <a:extLst>
              <a:ext uri="{FF2B5EF4-FFF2-40B4-BE49-F238E27FC236}">
                <a16:creationId xmlns:a16="http://schemas.microsoft.com/office/drawing/2014/main" id="{495865CE-5BE9-4122-8AB8-48E534DD88F7}"/>
              </a:ext>
            </a:extLst>
          </p:cNvPr>
          <p:cNvSpPr/>
          <p:nvPr userDrawn="1"/>
        </p:nvSpPr>
        <p:spPr bwMode="auto">
          <a:xfrm>
            <a:off x="0" y="6541200"/>
            <a:ext cx="12193200" cy="3168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  <p:sp>
        <p:nvSpPr>
          <p:cNvPr id="12" name="Top bar">
            <a:extLst>
              <a:ext uri="{FF2B5EF4-FFF2-40B4-BE49-F238E27FC236}">
                <a16:creationId xmlns:a16="http://schemas.microsoft.com/office/drawing/2014/main" id="{0D436479-94F3-475C-8F8D-D3CDC81793FD}"/>
              </a:ext>
            </a:extLst>
          </p:cNvPr>
          <p:cNvSpPr/>
          <p:nvPr userDrawn="1"/>
        </p:nvSpPr>
        <p:spPr bwMode="auto">
          <a:xfrm>
            <a:off x="0" y="0"/>
            <a:ext cx="12193200" cy="504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6376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29151" y="1931200"/>
            <a:ext cx="11521299" cy="398224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0048" y="1085213"/>
            <a:ext cx="11521299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07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859" y="3545117"/>
            <a:ext cx="10840028" cy="2706458"/>
          </a:xfrm>
        </p:spPr>
        <p:txBody>
          <a:bodyPr anchor="t" anchorCtr="0"/>
          <a:lstStyle>
            <a:lvl1pPr>
              <a:lnSpc>
                <a:spcPct val="93000"/>
              </a:lnSpc>
              <a:defRPr sz="8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7072" y="1704975"/>
            <a:ext cx="10840028" cy="1660654"/>
          </a:xfrm>
        </p:spPr>
        <p:txBody>
          <a:bodyPr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346B4F-F02C-40EC-9B70-932B18214C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7EB69-BB5A-407E-BF0A-1CB9B24506D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919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48A0E3C-0CE1-4BBF-A912-5A81BF3B7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CA8860-CDAD-4F91-9292-2B11655C19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C7A21B-9B48-4777-BF0D-9FB95719C2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777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84" userDrawn="1">
          <p15:clr>
            <a:srgbClr val="F26B43"/>
          </p15:clr>
        </p15:guide>
        <p15:guide id="2" pos="111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5EB1D5E1-0C4E-4A74-BE37-26307F7E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726" y="426127"/>
            <a:ext cx="9312374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74800" y="1706399"/>
            <a:ext cx="4410177" cy="4546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8001" y="1706399"/>
            <a:ext cx="4409100" cy="4546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499420-B0E8-4C8A-8C00-E21262271A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EE7F0E-E606-41AC-BBBF-B5AECB1112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213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26B43"/>
          </p15:clr>
        </p15:guide>
        <p15:guide id="2" pos="3896">
          <p15:clr>
            <a:srgbClr val="F26B43"/>
          </p15:clr>
        </p15:guide>
        <p15:guide id="3" pos="4205">
          <p15:clr>
            <a:srgbClr val="F26B43"/>
          </p15:clr>
        </p15:guide>
        <p15:guide id="4" pos="6984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90A2595F-A737-4D92-946C-EC0BBF885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726" y="426127"/>
            <a:ext cx="6048672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4726" y="1706328"/>
            <a:ext cx="6048672" cy="454557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5D29D0-EA4F-4318-8A82-6C2B200A71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31213" y="849734"/>
            <a:ext cx="3859200" cy="25056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8511D-E10E-40C3-82A6-3DCDC97CF6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31213" y="3563718"/>
            <a:ext cx="3859200" cy="25056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  <a:p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986237-C7E2-4498-82A4-361A340A65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664EEF-2B63-484E-803A-4FCD66F243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67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7" userDrawn="1">
          <p15:clr>
            <a:srgbClr val="F26B43"/>
          </p15:clr>
        </p15:guide>
        <p15:guide id="2" pos="5247" userDrawn="1">
          <p15:clr>
            <a:srgbClr val="F26B43"/>
          </p15:clr>
        </p15:guide>
        <p15:guide id="3" pos="1117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92213382-11A1-48CE-B0A0-D8A7D2686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1360" y="426127"/>
            <a:ext cx="6865740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1360" y="1706328"/>
            <a:ext cx="6865740" cy="454557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5D29D0-EA4F-4318-8A82-6C2B200A71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314523"/>
            <a:ext cx="3708000" cy="24552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8511D-E10E-40C3-82A6-3DCDC97CF6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3968153"/>
            <a:ext cx="3708000" cy="24552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  <a:p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26B732-1A52-4AA9-89FC-8FC5439E40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25D0DC-E43F-43DA-AA0F-C0C54C8939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56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84" userDrawn="1">
          <p15:clr>
            <a:srgbClr val="F26B43"/>
          </p15:clr>
        </p15:guide>
        <p15:guide id="2" pos="2660" userDrawn="1">
          <p15:clr>
            <a:srgbClr val="F26B43"/>
          </p15:clr>
        </p15:guide>
        <p15:guide id="3" pos="233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953C3-F3F7-4638-96F8-7CF20CB55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7650" y="980727"/>
            <a:ext cx="3740400" cy="41811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add title one lin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C0DB591-4602-46B3-B1C3-1E64148AB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650" y="4407150"/>
            <a:ext cx="3740400" cy="184442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8416079-1CFC-426F-A6ED-5AB355FC54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2750" y="979200"/>
            <a:ext cx="3740400" cy="417767"/>
          </a:xfrm>
        </p:spPr>
        <p:txBody>
          <a:bodyPr anchor="b" anchorCtr="0"/>
          <a:lstStyle>
            <a:lvl1pPr marL="0" indent="0">
              <a:buNone/>
              <a:defRPr sz="2400" b="1"/>
            </a:lvl1pPr>
            <a:lvl2pPr marL="0" indent="0">
              <a:buNone/>
              <a:defRPr sz="2400" b="1"/>
            </a:lvl2pPr>
            <a:lvl3pPr marL="0" indent="0">
              <a:buNone/>
              <a:defRPr sz="2400" b="1"/>
            </a:lvl3pPr>
            <a:lvl4pPr marL="0" indent="0">
              <a:buNone/>
              <a:defRPr sz="2400" b="1"/>
            </a:lvl4pPr>
            <a:lvl5pPr marL="0" indent="0">
              <a:buNone/>
              <a:defRPr sz="2400" b="1"/>
            </a:lvl5pPr>
          </a:lstStyle>
          <a:p>
            <a:pPr lvl="0"/>
            <a:r>
              <a:rPr lang="en-GB" dirty="0"/>
              <a:t>Click to add title one line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D358873C-68BF-4E89-B536-B3248F2B25F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22750" y="4406899"/>
            <a:ext cx="3740401" cy="18446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9A0E900-1FE2-4CC1-B435-93F3A11893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979200"/>
            <a:ext cx="3740400" cy="417767"/>
          </a:xfrm>
        </p:spPr>
        <p:txBody>
          <a:bodyPr anchor="b" anchorCtr="0"/>
          <a:lstStyle>
            <a:lvl1pPr marL="0" indent="0">
              <a:buNone/>
              <a:defRPr sz="2400" b="1"/>
            </a:lvl1pPr>
            <a:lvl2pPr marL="0" indent="0">
              <a:buNone/>
              <a:defRPr sz="2400" b="1"/>
            </a:lvl2pPr>
            <a:lvl3pPr marL="0" indent="0">
              <a:buNone/>
              <a:defRPr sz="2400" b="1"/>
            </a:lvl3pPr>
            <a:lvl4pPr marL="0" indent="0">
              <a:buNone/>
              <a:defRPr sz="2400" b="1"/>
            </a:lvl4pPr>
            <a:lvl5pPr marL="0" indent="0">
              <a:buNone/>
              <a:defRPr sz="2400" b="1"/>
            </a:lvl5pPr>
          </a:lstStyle>
          <a:p>
            <a:pPr lvl="0"/>
            <a:r>
              <a:rPr lang="en-GB" dirty="0"/>
              <a:t>Click to add title one lin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E094886A-F110-4851-B1DA-8DFC40D509F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97850" y="4406899"/>
            <a:ext cx="3740400" cy="18446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1B02311-54A6-4455-B615-BBCA0DA742E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7650" y="1546282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10A5827-3485-49A0-81F0-FF89EE34B80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23149" y="1548581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27B0558-FCB8-4A55-9BA9-182DFF0387F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98648" y="1546282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346B4F-F02C-40EC-9B70-932B18214C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7EB69-BB5A-407E-BF0A-1CB9B24506D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374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>
          <p15:clr>
            <a:srgbClr val="F26B43"/>
          </p15:clr>
        </p15:guide>
        <p15:guide id="2" pos="7522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97DEAA-3B7B-49C7-8C28-3F21F36A9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F74546-9D06-4CF7-806D-E04B043BF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F53AB3-8AAF-469F-AD3F-AE5E1A39D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4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7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og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E75ABF-082F-4A38-B952-09157E37A8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A39F3A-7714-4FD6-9132-D60FFA220D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26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ogo color">
            <a:extLst>
              <a:ext uri="{FF2B5EF4-FFF2-40B4-BE49-F238E27FC236}">
                <a16:creationId xmlns:a16="http://schemas.microsoft.com/office/drawing/2014/main" id="{ADC92552-7939-46C1-AAFE-B97F51EBFFE9}"/>
              </a:ext>
            </a:extLst>
          </p:cNvPr>
          <p:cNvSpPr>
            <a:spLocks noChangeAspect="1"/>
          </p:cNvSpPr>
          <p:nvPr userDrawn="1">
            <p:custDataLst>
              <p:tags r:id="rId14"/>
            </p:custDataLst>
          </p:nvPr>
        </p:nvSpPr>
        <p:spPr bwMode="auto">
          <a:xfrm>
            <a:off x="252000" y="252000"/>
            <a:ext cx="419611" cy="612000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99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" name="Bottom bar">
            <a:extLst>
              <a:ext uri="{FF2B5EF4-FFF2-40B4-BE49-F238E27FC236}">
                <a16:creationId xmlns:a16="http://schemas.microsoft.com/office/drawing/2014/main" id="{FFFFD011-0D94-46EE-B45C-787FE82C3B5E}"/>
              </a:ext>
            </a:extLst>
          </p:cNvPr>
          <p:cNvSpPr/>
          <p:nvPr userDrawn="1"/>
        </p:nvSpPr>
        <p:spPr bwMode="auto">
          <a:xfrm>
            <a:off x="0" y="6541200"/>
            <a:ext cx="12193200" cy="3168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  <p:sp>
        <p:nvSpPr>
          <p:cNvPr id="3" name="FLD_Presentation Title"/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spcBef>
                <a:spcPts val="0"/>
              </a:spcBef>
              <a:defRPr sz="700" b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06450" y="6541200"/>
            <a:ext cx="432600" cy="3168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74726" y="426127"/>
            <a:ext cx="9312374" cy="97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74726" y="1706328"/>
            <a:ext cx="9312374" cy="4545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endParaRPr lang="en-GB" dirty="0"/>
          </a:p>
        </p:txBody>
      </p:sp>
      <p:sp>
        <p:nvSpPr>
          <p:cNvPr id="113676" name="text" descr="{&quot;templafy&quot;:{&quot;id&quot;:&quot;2fce62a0-f28a-44e1-a519-0cbe37b25f7a&quot;}}" title="UserProfile.Offices.Workarea_{{DocumentLanguage}}"/>
          <p:cNvSpPr>
            <a:spLocks noChangeArrowheads="1"/>
          </p:cNvSpPr>
          <p:nvPr/>
        </p:nvSpPr>
        <p:spPr bwMode="auto">
          <a:xfrm>
            <a:off x="1774726" y="6541200"/>
            <a:ext cx="3397071" cy="31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/>
          <a:p>
            <a:pPr algn="l" eaLnBrk="0" hangingPunct="0">
              <a:spcBef>
                <a:spcPct val="0"/>
              </a:spcBef>
            </a:pPr>
            <a:r>
              <a:rPr lang="en-GB" sz="700" b="1" dirty="0">
                <a:solidFill>
                  <a:schemeClr val="bg1"/>
                </a:solidFill>
                <a:latin typeface="+mn-lt"/>
              </a:rPr>
              <a:t>DTU</a:t>
            </a:r>
          </a:p>
        </p:txBody>
      </p:sp>
      <p:sp>
        <p:nvSpPr>
          <p:cNvPr id="5" name="date" descr="{&quot;templafy&quot;:{&quot;id&quot;:&quot;58465eeb-cfe0-4970-97ec-88179dc0a9c2&quot;}}" title="Form.Date">
            <a:extLst>
              <a:ext uri="{FF2B5EF4-FFF2-40B4-BE49-F238E27FC236}">
                <a16:creationId xmlns:a16="http://schemas.microsoft.com/office/drawing/2014/main" id="{792B975C-625D-4095-8E1D-63F20A11B57C}"/>
              </a:ext>
            </a:extLst>
          </p:cNvPr>
          <p:cNvSpPr/>
          <p:nvPr userDrawn="1"/>
        </p:nvSpPr>
        <p:spPr bwMode="auto">
          <a:xfrm>
            <a:off x="251363" y="6541200"/>
            <a:ext cx="1104013" cy="316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pitchFamily="-80" charset="-128"/>
              </a:rPr>
              <a:t>Date</a:t>
            </a:r>
          </a:p>
        </p:txBody>
      </p:sp>
      <p:sp>
        <p:nvSpPr>
          <p:cNvPr id="7" name="text" descr="{&quot;templafy&quot;:{&quot;id&quot;:&quot;5020bdfb-1912-4d6d-a5c3-71b7da283692&quot;}}" title="Form.PresentationTitle">
            <a:extLst>
              <a:ext uri="{FF2B5EF4-FFF2-40B4-BE49-F238E27FC236}">
                <a16:creationId xmlns:a16="http://schemas.microsoft.com/office/drawing/2014/main" id="{06B09BDB-1C7D-4F8A-8F1B-82D88054A428}"/>
              </a:ext>
            </a:extLst>
          </p:cNvPr>
          <p:cNvSpPr txBox="1"/>
          <p:nvPr userDrawn="1"/>
        </p:nvSpPr>
        <p:spPr>
          <a:xfrm>
            <a:off x="5591149" y="6541200"/>
            <a:ext cx="5495949" cy="316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GB" sz="700" dirty="0">
                <a:solidFill>
                  <a:schemeClr val="bg1"/>
                </a:solidFill>
                <a:latin typeface="+mn-lt"/>
              </a:rPr>
              <a:t>Title</a:t>
            </a:r>
          </a:p>
        </p:txBody>
      </p:sp>
      <p:sp>
        <p:nvSpPr>
          <p:cNvPr id="2" name="Top bar">
            <a:extLst>
              <a:ext uri="{FF2B5EF4-FFF2-40B4-BE49-F238E27FC236}">
                <a16:creationId xmlns:a16="http://schemas.microsoft.com/office/drawing/2014/main" id="{35912424-89BF-4A93-9096-3282916C71FE}"/>
              </a:ext>
            </a:extLst>
          </p:cNvPr>
          <p:cNvSpPr/>
          <p:nvPr userDrawn="1"/>
        </p:nvSpPr>
        <p:spPr bwMode="auto">
          <a:xfrm>
            <a:off x="0" y="0"/>
            <a:ext cx="12193200" cy="504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4702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1" r:id="rId2"/>
    <p:sldLayoutId id="2147483664" r:id="rId3"/>
    <p:sldLayoutId id="2147483677" r:id="rId4"/>
    <p:sldLayoutId id="2147483672" r:id="rId5"/>
    <p:sldLayoutId id="2147483673" r:id="rId6"/>
    <p:sldLayoutId id="2147483676" r:id="rId7"/>
    <p:sldLayoutId id="2147483666" r:id="rId8"/>
    <p:sldLayoutId id="2147483667" r:id="rId9"/>
    <p:sldLayoutId id="2147483668" r:id="rId10"/>
    <p:sldLayoutId id="2147483669" r:id="rId11"/>
    <p:sldLayoutId id="2147483678" r:id="rId1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9pPr>
    </p:titleStyle>
    <p:bodyStyle>
      <a:lvl1pPr marL="198000" indent="-1980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14000" indent="-198000" algn="l" rtl="0" eaLnBrk="1" fontAlgn="base" hangingPunct="1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</a:defRPr>
      </a:lvl2pPr>
      <a:lvl3pPr marL="615600" indent="-1980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828000" indent="-198000" algn="l" rtl="0" eaLnBrk="1" fontAlgn="base" hangingPunct="1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</a:defRPr>
      </a:lvl4pPr>
      <a:lvl5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5pPr>
      <a:lvl6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6pPr>
      <a:lvl7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7pPr>
      <a:lvl8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8pPr>
      <a:lvl9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68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1074" userDrawn="1">
          <p15:clr>
            <a:srgbClr val="F26B43"/>
          </p15:clr>
        </p15:guide>
        <p15:guide id="6" orient="horz" pos="39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795" y="218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1" name="Object 7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218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236688" y="317563"/>
            <a:ext cx="8604000" cy="1104488"/>
          </a:xfrm>
        </p:spPr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Safety Moment</a:t>
            </a:r>
            <a:r>
              <a:rPr lang="da-DK" dirty="0"/>
              <a:t/>
            </a:r>
            <a:br>
              <a:rPr lang="da-DK" dirty="0"/>
            </a:br>
            <a:r>
              <a:rPr lang="da-DK" dirty="0" smtClean="0"/>
              <a:t>Sikkerhed ved kørsel i bil og i trafikken </a:t>
            </a:r>
            <a:endParaRPr lang="da-DK" dirty="0"/>
          </a:p>
        </p:txBody>
      </p:sp>
      <p:sp>
        <p:nvSpPr>
          <p:cNvPr id="18" name="Text Placeholder 19"/>
          <p:cNvSpPr txBox="1">
            <a:spLocks/>
          </p:cNvSpPr>
          <p:nvPr/>
        </p:nvSpPr>
        <p:spPr>
          <a:xfrm>
            <a:off x="6117648" y="1848671"/>
            <a:ext cx="2080533" cy="725630"/>
          </a:xfrm>
          <a:prstGeom prst="rect">
            <a:avLst/>
          </a:prstGeom>
        </p:spPr>
        <p:txBody>
          <a:bodyPr lIns="0" tIns="0" rIns="0" anchor="b" anchorCtr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Udgå at blive distraheret </a:t>
            </a:r>
          </a:p>
        </p:txBody>
      </p:sp>
      <p:sp>
        <p:nvSpPr>
          <p:cNvPr id="19" name="Content Placeholder 20"/>
          <p:cNvSpPr txBox="1">
            <a:spLocks/>
          </p:cNvSpPr>
          <p:nvPr/>
        </p:nvSpPr>
        <p:spPr>
          <a:xfrm>
            <a:off x="6146224" y="3899961"/>
            <a:ext cx="2080533" cy="1984297"/>
          </a:xfrm>
          <a:prstGeom prst="rect">
            <a:avLst/>
          </a:prstGeom>
        </p:spPr>
        <p:txBody>
          <a:bodyPr lIns="0" r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 err="1">
                <a:solidFill>
                  <a:srgbClr val="000000"/>
                </a:solidFill>
              </a:rPr>
              <a:t>Udpakke</a:t>
            </a:r>
            <a:r>
              <a:rPr lang="da-DK" sz="1200" dirty="0">
                <a:solidFill>
                  <a:srgbClr val="000000"/>
                </a:solidFill>
              </a:rPr>
              <a:t> og spise mad</a:t>
            </a:r>
          </a:p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Åbner en drikkevare og tager en slurk</a:t>
            </a:r>
          </a:p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Rygning</a:t>
            </a:r>
          </a:p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Ændring af musikken</a:t>
            </a:r>
            <a:endParaRPr lang="da-DK" sz="1200" dirty="0">
              <a:solidFill>
                <a:srgbClr val="000000"/>
              </a:solidFill>
              <a:ea typeface="ABBvoiceOffice"/>
              <a:cs typeface="ABBvoiceOffice"/>
            </a:endParaRPr>
          </a:p>
        </p:txBody>
      </p:sp>
      <p:cxnSp>
        <p:nvCxnSpPr>
          <p:cNvPr id="22" name="Straight Connector 21"/>
          <p:cNvCxnSpPr/>
          <p:nvPr/>
        </p:nvCxnSpPr>
        <p:spPr bwMode="gray">
          <a:xfrm>
            <a:off x="6146223" y="2574301"/>
            <a:ext cx="20805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21"/>
          <p:cNvSpPr txBox="1">
            <a:spLocks/>
          </p:cNvSpPr>
          <p:nvPr/>
        </p:nvSpPr>
        <p:spPr>
          <a:xfrm>
            <a:off x="8332339" y="1848671"/>
            <a:ext cx="2080534" cy="725630"/>
          </a:xfrm>
          <a:prstGeom prst="rect">
            <a:avLst/>
          </a:prstGeom>
        </p:spPr>
        <p:txBody>
          <a:bodyPr lIns="0" tIns="0" rIns="0" anchor="b" anchorCtr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ørsel kræver din fulde koncentration, hele tiden</a:t>
            </a:r>
          </a:p>
        </p:txBody>
      </p:sp>
      <p:sp>
        <p:nvSpPr>
          <p:cNvPr id="21" name="Content Placeholder 22"/>
          <p:cNvSpPr txBox="1">
            <a:spLocks/>
          </p:cNvSpPr>
          <p:nvPr/>
        </p:nvSpPr>
        <p:spPr>
          <a:xfrm>
            <a:off x="8332339" y="3899961"/>
            <a:ext cx="2080534" cy="1984297"/>
          </a:xfrm>
          <a:prstGeom prst="rect">
            <a:avLst/>
          </a:prstGeom>
        </p:spPr>
        <p:txBody>
          <a:bodyPr lIns="0" r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 defTabSz="91440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At gøre noget andet under kørslen distraherer dig og sænker din reaktionsevnen </a:t>
            </a:r>
          </a:p>
          <a:p>
            <a:pPr marL="228600" lvl="1" indent="-228600" defTabSz="91440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Sikker kørsel afhænger af en fokuseret og                 u-distraheret ”chauffør”</a:t>
            </a:r>
          </a:p>
          <a:p>
            <a:pPr marL="228600" lvl="1" indent="-228600" defTabSz="91440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</a:rPr>
              <a:t>Hold øje på vejen !!</a:t>
            </a:r>
            <a:endParaRPr lang="en-GB" sz="1200" b="1" dirty="0">
              <a:solidFill>
                <a:schemeClr val="tx2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 bwMode="gray">
          <a:xfrm>
            <a:off x="8332339" y="2574301"/>
            <a:ext cx="20805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Text Placeholder 17"/>
          <p:cNvSpPr txBox="1">
            <a:spLocks/>
          </p:cNvSpPr>
          <p:nvPr/>
        </p:nvSpPr>
        <p:spPr>
          <a:xfrm>
            <a:off x="3960105" y="1848671"/>
            <a:ext cx="2080534" cy="725630"/>
          </a:xfrm>
          <a:prstGeom prst="rect">
            <a:avLst/>
          </a:prstGeom>
        </p:spPr>
        <p:txBody>
          <a:bodyPr lIns="0" tIns="0" rIns="0" anchor="b" anchorCtr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Mobiltelefon – kun håndfri </a:t>
            </a:r>
          </a:p>
        </p:txBody>
      </p:sp>
      <p:sp>
        <p:nvSpPr>
          <p:cNvPr id="17" name="Content Placeholder 18"/>
          <p:cNvSpPr txBox="1">
            <a:spLocks/>
          </p:cNvSpPr>
          <p:nvPr/>
        </p:nvSpPr>
        <p:spPr>
          <a:xfrm>
            <a:off x="3960105" y="3899961"/>
            <a:ext cx="2080534" cy="1984297"/>
          </a:xfrm>
          <a:prstGeom prst="rect">
            <a:avLst/>
          </a:prstGeom>
        </p:spPr>
        <p:txBody>
          <a:bodyPr lIns="0" r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  <a:ea typeface="ABBvoiceOffice"/>
                <a:cs typeface="ABBvoiceOffice"/>
              </a:rPr>
              <a:t>Brug kun mobiltelefon når det er nødvendigt</a:t>
            </a:r>
          </a:p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  <a:ea typeface="ABBvoiceOffice"/>
                <a:cs typeface="ABBvoiceOffice"/>
              </a:rPr>
              <a:t>Vær forsigtig med at bruge bilens radio, navigation ol. </a:t>
            </a:r>
          </a:p>
        </p:txBody>
      </p:sp>
      <p:cxnSp>
        <p:nvCxnSpPr>
          <p:cNvPr id="24" name="Straight Connector 23"/>
          <p:cNvCxnSpPr/>
          <p:nvPr/>
        </p:nvCxnSpPr>
        <p:spPr bwMode="gray">
          <a:xfrm>
            <a:off x="3960105" y="2574301"/>
            <a:ext cx="20805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6683657" y="2732479"/>
            <a:ext cx="1005665" cy="1005665"/>
            <a:chOff x="4538901" y="2597534"/>
            <a:chExt cx="928645" cy="928645"/>
          </a:xfrm>
        </p:grpSpPr>
        <p:grpSp>
          <p:nvGrpSpPr>
            <p:cNvPr id="38" name="Group 37"/>
            <p:cNvGrpSpPr>
              <a:grpSpLocks noChangeAspect="1"/>
            </p:cNvGrpSpPr>
            <p:nvPr/>
          </p:nvGrpSpPr>
          <p:grpSpPr>
            <a:xfrm>
              <a:off x="4731760" y="2795156"/>
              <a:ext cx="542926" cy="533400"/>
              <a:chOff x="4300538" y="3162300"/>
              <a:chExt cx="542926" cy="533400"/>
            </a:xfrm>
          </p:grpSpPr>
          <p:sp>
            <p:nvSpPr>
              <p:cNvPr id="39" name="Freeform 18"/>
              <p:cNvSpPr>
                <a:spLocks noEditPoints="1"/>
              </p:cNvSpPr>
              <p:nvPr/>
            </p:nvSpPr>
            <p:spPr bwMode="auto">
              <a:xfrm>
                <a:off x="4300538" y="3162300"/>
                <a:ext cx="188913" cy="533400"/>
              </a:xfrm>
              <a:custGeom>
                <a:avLst/>
                <a:gdLst>
                  <a:gd name="T0" fmla="*/ 318 w 1193"/>
                  <a:gd name="T1" fmla="*/ 1441 h 3361"/>
                  <a:gd name="T2" fmla="*/ 318 w 1193"/>
                  <a:gd name="T3" fmla="*/ 1553 h 3361"/>
                  <a:gd name="T4" fmla="*/ 159 w 1193"/>
                  <a:gd name="T5" fmla="*/ 1714 h 3361"/>
                  <a:gd name="T6" fmla="*/ 159 w 1193"/>
                  <a:gd name="T7" fmla="*/ 3167 h 3361"/>
                  <a:gd name="T8" fmla="*/ 192 w 1193"/>
                  <a:gd name="T9" fmla="*/ 3200 h 3361"/>
                  <a:gd name="T10" fmla="*/ 1001 w 1193"/>
                  <a:gd name="T11" fmla="*/ 3200 h 3361"/>
                  <a:gd name="T12" fmla="*/ 1034 w 1193"/>
                  <a:gd name="T13" fmla="*/ 3167 h 3361"/>
                  <a:gd name="T14" fmla="*/ 1034 w 1193"/>
                  <a:gd name="T15" fmla="*/ 1714 h 3361"/>
                  <a:gd name="T16" fmla="*/ 875 w 1193"/>
                  <a:gd name="T17" fmla="*/ 1553 h 3361"/>
                  <a:gd name="T18" fmla="*/ 875 w 1193"/>
                  <a:gd name="T19" fmla="*/ 1441 h 3361"/>
                  <a:gd name="T20" fmla="*/ 318 w 1193"/>
                  <a:gd name="T21" fmla="*/ 1441 h 3361"/>
                  <a:gd name="T22" fmla="*/ 272 w 1193"/>
                  <a:gd name="T23" fmla="*/ 481 h 3361"/>
                  <a:gd name="T24" fmla="*/ 159 w 1193"/>
                  <a:gd name="T25" fmla="*/ 593 h 3361"/>
                  <a:gd name="T26" fmla="*/ 159 w 1193"/>
                  <a:gd name="T27" fmla="*/ 1168 h 3361"/>
                  <a:gd name="T28" fmla="*/ 272 w 1193"/>
                  <a:gd name="T29" fmla="*/ 1280 h 3361"/>
                  <a:gd name="T30" fmla="*/ 921 w 1193"/>
                  <a:gd name="T31" fmla="*/ 1280 h 3361"/>
                  <a:gd name="T32" fmla="*/ 1034 w 1193"/>
                  <a:gd name="T33" fmla="*/ 1168 h 3361"/>
                  <a:gd name="T34" fmla="*/ 1034 w 1193"/>
                  <a:gd name="T35" fmla="*/ 593 h 3361"/>
                  <a:gd name="T36" fmla="*/ 921 w 1193"/>
                  <a:gd name="T37" fmla="*/ 481 h 3361"/>
                  <a:gd name="T38" fmla="*/ 272 w 1193"/>
                  <a:gd name="T39" fmla="*/ 481 h 3361"/>
                  <a:gd name="T40" fmla="*/ 477 w 1193"/>
                  <a:gd name="T41" fmla="*/ 161 h 3361"/>
                  <a:gd name="T42" fmla="*/ 477 w 1193"/>
                  <a:gd name="T43" fmla="*/ 320 h 3361"/>
                  <a:gd name="T44" fmla="*/ 716 w 1193"/>
                  <a:gd name="T45" fmla="*/ 320 h 3361"/>
                  <a:gd name="T46" fmla="*/ 716 w 1193"/>
                  <a:gd name="T47" fmla="*/ 161 h 3361"/>
                  <a:gd name="T48" fmla="*/ 477 w 1193"/>
                  <a:gd name="T49" fmla="*/ 161 h 3361"/>
                  <a:gd name="T50" fmla="*/ 398 w 1193"/>
                  <a:gd name="T51" fmla="*/ 0 h 3361"/>
                  <a:gd name="T52" fmla="*/ 795 w 1193"/>
                  <a:gd name="T53" fmla="*/ 0 h 3361"/>
                  <a:gd name="T54" fmla="*/ 875 w 1193"/>
                  <a:gd name="T55" fmla="*/ 80 h 3361"/>
                  <a:gd name="T56" fmla="*/ 875 w 1193"/>
                  <a:gd name="T57" fmla="*/ 320 h 3361"/>
                  <a:gd name="T58" fmla="*/ 988 w 1193"/>
                  <a:gd name="T59" fmla="*/ 320 h 3361"/>
                  <a:gd name="T60" fmla="*/ 1193 w 1193"/>
                  <a:gd name="T61" fmla="*/ 527 h 3361"/>
                  <a:gd name="T62" fmla="*/ 1193 w 1193"/>
                  <a:gd name="T63" fmla="*/ 1233 h 3361"/>
                  <a:gd name="T64" fmla="*/ 1034 w 1193"/>
                  <a:gd name="T65" fmla="*/ 1394 h 3361"/>
                  <a:gd name="T66" fmla="*/ 1034 w 1193"/>
                  <a:gd name="T67" fmla="*/ 1488 h 3361"/>
                  <a:gd name="T68" fmla="*/ 1193 w 1193"/>
                  <a:gd name="T69" fmla="*/ 1647 h 3361"/>
                  <a:gd name="T70" fmla="*/ 1193 w 1193"/>
                  <a:gd name="T71" fmla="*/ 3234 h 3361"/>
                  <a:gd name="T72" fmla="*/ 1066 w 1193"/>
                  <a:gd name="T73" fmla="*/ 3361 h 3361"/>
                  <a:gd name="T74" fmla="*/ 126 w 1193"/>
                  <a:gd name="T75" fmla="*/ 3361 h 3361"/>
                  <a:gd name="T76" fmla="*/ 0 w 1193"/>
                  <a:gd name="T77" fmla="*/ 3234 h 3361"/>
                  <a:gd name="T78" fmla="*/ 0 w 1193"/>
                  <a:gd name="T79" fmla="*/ 1647 h 3361"/>
                  <a:gd name="T80" fmla="*/ 159 w 1193"/>
                  <a:gd name="T81" fmla="*/ 1488 h 3361"/>
                  <a:gd name="T82" fmla="*/ 159 w 1193"/>
                  <a:gd name="T83" fmla="*/ 1394 h 3361"/>
                  <a:gd name="T84" fmla="*/ 0 w 1193"/>
                  <a:gd name="T85" fmla="*/ 1233 h 3361"/>
                  <a:gd name="T86" fmla="*/ 0 w 1193"/>
                  <a:gd name="T87" fmla="*/ 527 h 3361"/>
                  <a:gd name="T88" fmla="*/ 205 w 1193"/>
                  <a:gd name="T89" fmla="*/ 320 h 3361"/>
                  <a:gd name="T90" fmla="*/ 318 w 1193"/>
                  <a:gd name="T91" fmla="*/ 320 h 3361"/>
                  <a:gd name="T92" fmla="*/ 318 w 1193"/>
                  <a:gd name="T93" fmla="*/ 80 h 3361"/>
                  <a:gd name="T94" fmla="*/ 398 w 1193"/>
                  <a:gd name="T95" fmla="*/ 0 h 3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93" h="3361">
                    <a:moveTo>
                      <a:pt x="318" y="1441"/>
                    </a:moveTo>
                    <a:lnTo>
                      <a:pt x="318" y="1553"/>
                    </a:lnTo>
                    <a:lnTo>
                      <a:pt x="159" y="1714"/>
                    </a:lnTo>
                    <a:lnTo>
                      <a:pt x="159" y="3167"/>
                    </a:lnTo>
                    <a:lnTo>
                      <a:pt x="192" y="3200"/>
                    </a:lnTo>
                    <a:lnTo>
                      <a:pt x="1001" y="3200"/>
                    </a:lnTo>
                    <a:lnTo>
                      <a:pt x="1034" y="3167"/>
                    </a:lnTo>
                    <a:lnTo>
                      <a:pt x="1034" y="1714"/>
                    </a:lnTo>
                    <a:lnTo>
                      <a:pt x="875" y="1553"/>
                    </a:lnTo>
                    <a:lnTo>
                      <a:pt x="875" y="1441"/>
                    </a:lnTo>
                    <a:lnTo>
                      <a:pt x="318" y="1441"/>
                    </a:lnTo>
                    <a:close/>
                    <a:moveTo>
                      <a:pt x="272" y="481"/>
                    </a:moveTo>
                    <a:lnTo>
                      <a:pt x="159" y="593"/>
                    </a:lnTo>
                    <a:lnTo>
                      <a:pt x="159" y="1168"/>
                    </a:lnTo>
                    <a:lnTo>
                      <a:pt x="272" y="1280"/>
                    </a:lnTo>
                    <a:lnTo>
                      <a:pt x="921" y="1280"/>
                    </a:lnTo>
                    <a:lnTo>
                      <a:pt x="1034" y="1168"/>
                    </a:lnTo>
                    <a:lnTo>
                      <a:pt x="1034" y="593"/>
                    </a:lnTo>
                    <a:lnTo>
                      <a:pt x="921" y="481"/>
                    </a:lnTo>
                    <a:lnTo>
                      <a:pt x="272" y="481"/>
                    </a:lnTo>
                    <a:close/>
                    <a:moveTo>
                      <a:pt x="477" y="161"/>
                    </a:moveTo>
                    <a:lnTo>
                      <a:pt x="477" y="320"/>
                    </a:lnTo>
                    <a:lnTo>
                      <a:pt x="716" y="320"/>
                    </a:lnTo>
                    <a:lnTo>
                      <a:pt x="716" y="161"/>
                    </a:lnTo>
                    <a:lnTo>
                      <a:pt x="477" y="161"/>
                    </a:lnTo>
                    <a:close/>
                    <a:moveTo>
                      <a:pt x="398" y="0"/>
                    </a:moveTo>
                    <a:lnTo>
                      <a:pt x="795" y="0"/>
                    </a:lnTo>
                    <a:lnTo>
                      <a:pt x="875" y="80"/>
                    </a:lnTo>
                    <a:lnTo>
                      <a:pt x="875" y="320"/>
                    </a:lnTo>
                    <a:lnTo>
                      <a:pt x="988" y="320"/>
                    </a:lnTo>
                    <a:lnTo>
                      <a:pt x="1193" y="527"/>
                    </a:lnTo>
                    <a:lnTo>
                      <a:pt x="1193" y="1233"/>
                    </a:lnTo>
                    <a:lnTo>
                      <a:pt x="1034" y="1394"/>
                    </a:lnTo>
                    <a:lnTo>
                      <a:pt x="1034" y="1488"/>
                    </a:lnTo>
                    <a:lnTo>
                      <a:pt x="1193" y="1647"/>
                    </a:lnTo>
                    <a:lnTo>
                      <a:pt x="1193" y="3234"/>
                    </a:lnTo>
                    <a:lnTo>
                      <a:pt x="1066" y="3361"/>
                    </a:lnTo>
                    <a:lnTo>
                      <a:pt x="126" y="3361"/>
                    </a:lnTo>
                    <a:lnTo>
                      <a:pt x="0" y="3234"/>
                    </a:lnTo>
                    <a:lnTo>
                      <a:pt x="0" y="1647"/>
                    </a:lnTo>
                    <a:lnTo>
                      <a:pt x="159" y="1488"/>
                    </a:lnTo>
                    <a:lnTo>
                      <a:pt x="159" y="1394"/>
                    </a:lnTo>
                    <a:lnTo>
                      <a:pt x="0" y="1233"/>
                    </a:lnTo>
                    <a:lnTo>
                      <a:pt x="0" y="527"/>
                    </a:lnTo>
                    <a:lnTo>
                      <a:pt x="205" y="320"/>
                    </a:lnTo>
                    <a:lnTo>
                      <a:pt x="318" y="320"/>
                    </a:lnTo>
                    <a:lnTo>
                      <a:pt x="318" y="80"/>
                    </a:lnTo>
                    <a:lnTo>
                      <a:pt x="39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40" name="Freeform 19"/>
              <p:cNvSpPr>
                <a:spLocks noEditPoints="1"/>
              </p:cNvSpPr>
              <p:nvPr/>
            </p:nvSpPr>
            <p:spPr bwMode="auto">
              <a:xfrm>
                <a:off x="4514851" y="3492500"/>
                <a:ext cx="328613" cy="203200"/>
              </a:xfrm>
              <a:custGeom>
                <a:avLst/>
                <a:gdLst>
                  <a:gd name="T0" fmla="*/ 966 w 2068"/>
                  <a:gd name="T1" fmla="*/ 160 h 1280"/>
                  <a:gd name="T2" fmla="*/ 910 w 2068"/>
                  <a:gd name="T3" fmla="*/ 168 h 1280"/>
                  <a:gd name="T4" fmla="*/ 680 w 2068"/>
                  <a:gd name="T5" fmla="*/ 231 h 1280"/>
                  <a:gd name="T6" fmla="*/ 637 w 2068"/>
                  <a:gd name="T7" fmla="*/ 187 h 1280"/>
                  <a:gd name="T8" fmla="*/ 507 w 2068"/>
                  <a:gd name="T9" fmla="*/ 208 h 1280"/>
                  <a:gd name="T10" fmla="*/ 393 w 2068"/>
                  <a:gd name="T11" fmla="*/ 231 h 1280"/>
                  <a:gd name="T12" fmla="*/ 296 w 2068"/>
                  <a:gd name="T13" fmla="*/ 255 h 1280"/>
                  <a:gd name="T14" fmla="*/ 218 w 2068"/>
                  <a:gd name="T15" fmla="*/ 277 h 1280"/>
                  <a:gd name="T16" fmla="*/ 159 w 2068"/>
                  <a:gd name="T17" fmla="*/ 296 h 1280"/>
                  <a:gd name="T18" fmla="*/ 1909 w 2068"/>
                  <a:gd name="T19" fmla="*/ 1119 h 1280"/>
                  <a:gd name="T20" fmla="*/ 1879 w 2068"/>
                  <a:gd name="T21" fmla="*/ 286 h 1280"/>
                  <a:gd name="T22" fmla="*/ 1803 w 2068"/>
                  <a:gd name="T23" fmla="*/ 264 h 1280"/>
                  <a:gd name="T24" fmla="*/ 1704 w 2068"/>
                  <a:gd name="T25" fmla="*/ 239 h 1280"/>
                  <a:gd name="T26" fmla="*/ 1584 w 2068"/>
                  <a:gd name="T27" fmla="*/ 212 h 1280"/>
                  <a:gd name="T28" fmla="*/ 1446 w 2068"/>
                  <a:gd name="T29" fmla="*/ 190 h 1280"/>
                  <a:gd name="T30" fmla="*/ 1292 w 2068"/>
                  <a:gd name="T31" fmla="*/ 171 h 1280"/>
                  <a:gd name="T32" fmla="*/ 1123 w 2068"/>
                  <a:gd name="T33" fmla="*/ 161 h 1280"/>
                  <a:gd name="T34" fmla="*/ 1034 w 2068"/>
                  <a:gd name="T35" fmla="*/ 0 h 1280"/>
                  <a:gd name="T36" fmla="*/ 1198 w 2068"/>
                  <a:gd name="T37" fmla="*/ 4 h 1280"/>
                  <a:gd name="T38" fmla="*/ 1352 w 2068"/>
                  <a:gd name="T39" fmla="*/ 16 h 1280"/>
                  <a:gd name="T40" fmla="*/ 1493 w 2068"/>
                  <a:gd name="T41" fmla="*/ 34 h 1280"/>
                  <a:gd name="T42" fmla="*/ 1620 w 2068"/>
                  <a:gd name="T43" fmla="*/ 56 h 1280"/>
                  <a:gd name="T44" fmla="*/ 1732 w 2068"/>
                  <a:gd name="T45" fmla="*/ 80 h 1280"/>
                  <a:gd name="T46" fmla="*/ 1828 w 2068"/>
                  <a:gd name="T47" fmla="*/ 104 h 1280"/>
                  <a:gd name="T48" fmla="*/ 1905 w 2068"/>
                  <a:gd name="T49" fmla="*/ 127 h 1280"/>
                  <a:gd name="T50" fmla="*/ 1963 w 2068"/>
                  <a:gd name="T51" fmla="*/ 146 h 1280"/>
                  <a:gd name="T52" fmla="*/ 2002 w 2068"/>
                  <a:gd name="T53" fmla="*/ 159 h 1280"/>
                  <a:gd name="T54" fmla="*/ 2018 w 2068"/>
                  <a:gd name="T55" fmla="*/ 166 h 1280"/>
                  <a:gd name="T56" fmla="*/ 2068 w 2068"/>
                  <a:gd name="T57" fmla="*/ 1200 h 1280"/>
                  <a:gd name="T58" fmla="*/ 79 w 2068"/>
                  <a:gd name="T59" fmla="*/ 1280 h 1280"/>
                  <a:gd name="T60" fmla="*/ 0 w 2068"/>
                  <a:gd name="T61" fmla="*/ 240 h 1280"/>
                  <a:gd name="T62" fmla="*/ 55 w 2068"/>
                  <a:gd name="T63" fmla="*/ 163 h 1280"/>
                  <a:gd name="T64" fmla="*/ 82 w 2068"/>
                  <a:gd name="T65" fmla="*/ 153 h 1280"/>
                  <a:gd name="T66" fmla="*/ 131 w 2068"/>
                  <a:gd name="T67" fmla="*/ 136 h 1280"/>
                  <a:gd name="T68" fmla="*/ 199 w 2068"/>
                  <a:gd name="T69" fmla="*/ 116 h 1280"/>
                  <a:gd name="T70" fmla="*/ 286 w 2068"/>
                  <a:gd name="T71" fmla="*/ 92 h 1280"/>
                  <a:gd name="T72" fmla="*/ 390 w 2068"/>
                  <a:gd name="T73" fmla="*/ 68 h 1280"/>
                  <a:gd name="T74" fmla="*/ 510 w 2068"/>
                  <a:gd name="T75" fmla="*/ 45 h 1280"/>
                  <a:gd name="T76" fmla="*/ 644 w 2068"/>
                  <a:gd name="T77" fmla="*/ 25 h 1280"/>
                  <a:gd name="T78" fmla="*/ 791 w 2068"/>
                  <a:gd name="T79" fmla="*/ 9 h 1280"/>
                  <a:gd name="T80" fmla="*/ 951 w 2068"/>
                  <a:gd name="T81" fmla="*/ 1 h 1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68" h="1280">
                    <a:moveTo>
                      <a:pt x="1034" y="159"/>
                    </a:moveTo>
                    <a:lnTo>
                      <a:pt x="966" y="160"/>
                    </a:lnTo>
                    <a:lnTo>
                      <a:pt x="900" y="162"/>
                    </a:lnTo>
                    <a:lnTo>
                      <a:pt x="910" y="168"/>
                    </a:lnTo>
                    <a:lnTo>
                      <a:pt x="840" y="312"/>
                    </a:lnTo>
                    <a:lnTo>
                      <a:pt x="680" y="231"/>
                    </a:lnTo>
                    <a:lnTo>
                      <a:pt x="706" y="178"/>
                    </a:lnTo>
                    <a:lnTo>
                      <a:pt x="637" y="187"/>
                    </a:lnTo>
                    <a:lnTo>
                      <a:pt x="570" y="198"/>
                    </a:lnTo>
                    <a:lnTo>
                      <a:pt x="507" y="208"/>
                    </a:lnTo>
                    <a:lnTo>
                      <a:pt x="448" y="220"/>
                    </a:lnTo>
                    <a:lnTo>
                      <a:pt x="393" y="231"/>
                    </a:lnTo>
                    <a:lnTo>
                      <a:pt x="342" y="244"/>
                    </a:lnTo>
                    <a:lnTo>
                      <a:pt x="296" y="255"/>
                    </a:lnTo>
                    <a:lnTo>
                      <a:pt x="254" y="267"/>
                    </a:lnTo>
                    <a:lnTo>
                      <a:pt x="218" y="277"/>
                    </a:lnTo>
                    <a:lnTo>
                      <a:pt x="186" y="288"/>
                    </a:lnTo>
                    <a:lnTo>
                      <a:pt x="159" y="296"/>
                    </a:lnTo>
                    <a:lnTo>
                      <a:pt x="159" y="1119"/>
                    </a:lnTo>
                    <a:lnTo>
                      <a:pt x="1909" y="1119"/>
                    </a:lnTo>
                    <a:lnTo>
                      <a:pt x="1909" y="296"/>
                    </a:lnTo>
                    <a:lnTo>
                      <a:pt x="1879" y="286"/>
                    </a:lnTo>
                    <a:lnTo>
                      <a:pt x="1844" y="276"/>
                    </a:lnTo>
                    <a:lnTo>
                      <a:pt x="1803" y="264"/>
                    </a:lnTo>
                    <a:lnTo>
                      <a:pt x="1756" y="251"/>
                    </a:lnTo>
                    <a:lnTo>
                      <a:pt x="1704" y="239"/>
                    </a:lnTo>
                    <a:lnTo>
                      <a:pt x="1646" y="225"/>
                    </a:lnTo>
                    <a:lnTo>
                      <a:pt x="1584" y="212"/>
                    </a:lnTo>
                    <a:lnTo>
                      <a:pt x="1518" y="200"/>
                    </a:lnTo>
                    <a:lnTo>
                      <a:pt x="1446" y="190"/>
                    </a:lnTo>
                    <a:lnTo>
                      <a:pt x="1371" y="179"/>
                    </a:lnTo>
                    <a:lnTo>
                      <a:pt x="1292" y="171"/>
                    </a:lnTo>
                    <a:lnTo>
                      <a:pt x="1209" y="165"/>
                    </a:lnTo>
                    <a:lnTo>
                      <a:pt x="1123" y="161"/>
                    </a:lnTo>
                    <a:lnTo>
                      <a:pt x="1034" y="159"/>
                    </a:lnTo>
                    <a:close/>
                    <a:moveTo>
                      <a:pt x="1034" y="0"/>
                    </a:moveTo>
                    <a:lnTo>
                      <a:pt x="1118" y="1"/>
                    </a:lnTo>
                    <a:lnTo>
                      <a:pt x="1198" y="4"/>
                    </a:lnTo>
                    <a:lnTo>
                      <a:pt x="1276" y="9"/>
                    </a:lnTo>
                    <a:lnTo>
                      <a:pt x="1352" y="16"/>
                    </a:lnTo>
                    <a:lnTo>
                      <a:pt x="1424" y="25"/>
                    </a:lnTo>
                    <a:lnTo>
                      <a:pt x="1493" y="34"/>
                    </a:lnTo>
                    <a:lnTo>
                      <a:pt x="1558" y="45"/>
                    </a:lnTo>
                    <a:lnTo>
                      <a:pt x="1620" y="56"/>
                    </a:lnTo>
                    <a:lnTo>
                      <a:pt x="1677" y="68"/>
                    </a:lnTo>
                    <a:lnTo>
                      <a:pt x="1732" y="80"/>
                    </a:lnTo>
                    <a:lnTo>
                      <a:pt x="1782" y="92"/>
                    </a:lnTo>
                    <a:lnTo>
                      <a:pt x="1828" y="104"/>
                    </a:lnTo>
                    <a:lnTo>
                      <a:pt x="1868" y="116"/>
                    </a:lnTo>
                    <a:lnTo>
                      <a:pt x="1905" y="127"/>
                    </a:lnTo>
                    <a:lnTo>
                      <a:pt x="1936" y="136"/>
                    </a:lnTo>
                    <a:lnTo>
                      <a:pt x="1963" y="146"/>
                    </a:lnTo>
                    <a:lnTo>
                      <a:pt x="1985" y="153"/>
                    </a:lnTo>
                    <a:lnTo>
                      <a:pt x="2002" y="159"/>
                    </a:lnTo>
                    <a:lnTo>
                      <a:pt x="2013" y="163"/>
                    </a:lnTo>
                    <a:lnTo>
                      <a:pt x="2018" y="166"/>
                    </a:lnTo>
                    <a:lnTo>
                      <a:pt x="2068" y="240"/>
                    </a:lnTo>
                    <a:lnTo>
                      <a:pt x="2068" y="1200"/>
                    </a:lnTo>
                    <a:lnTo>
                      <a:pt x="1988" y="1280"/>
                    </a:lnTo>
                    <a:lnTo>
                      <a:pt x="79" y="1280"/>
                    </a:lnTo>
                    <a:lnTo>
                      <a:pt x="0" y="1200"/>
                    </a:lnTo>
                    <a:lnTo>
                      <a:pt x="0" y="240"/>
                    </a:lnTo>
                    <a:lnTo>
                      <a:pt x="50" y="166"/>
                    </a:lnTo>
                    <a:lnTo>
                      <a:pt x="55" y="163"/>
                    </a:lnTo>
                    <a:lnTo>
                      <a:pt x="67" y="159"/>
                    </a:lnTo>
                    <a:lnTo>
                      <a:pt x="82" y="153"/>
                    </a:lnTo>
                    <a:lnTo>
                      <a:pt x="104" y="146"/>
                    </a:lnTo>
                    <a:lnTo>
                      <a:pt x="131" y="136"/>
                    </a:lnTo>
                    <a:lnTo>
                      <a:pt x="163" y="127"/>
                    </a:lnTo>
                    <a:lnTo>
                      <a:pt x="199" y="116"/>
                    </a:lnTo>
                    <a:lnTo>
                      <a:pt x="241" y="104"/>
                    </a:lnTo>
                    <a:lnTo>
                      <a:pt x="286" y="92"/>
                    </a:lnTo>
                    <a:lnTo>
                      <a:pt x="336" y="80"/>
                    </a:lnTo>
                    <a:lnTo>
                      <a:pt x="390" y="68"/>
                    </a:lnTo>
                    <a:lnTo>
                      <a:pt x="448" y="56"/>
                    </a:lnTo>
                    <a:lnTo>
                      <a:pt x="510" y="45"/>
                    </a:lnTo>
                    <a:lnTo>
                      <a:pt x="576" y="34"/>
                    </a:lnTo>
                    <a:lnTo>
                      <a:pt x="644" y="25"/>
                    </a:lnTo>
                    <a:lnTo>
                      <a:pt x="717" y="16"/>
                    </a:lnTo>
                    <a:lnTo>
                      <a:pt x="791" y="9"/>
                    </a:lnTo>
                    <a:lnTo>
                      <a:pt x="870" y="4"/>
                    </a:lnTo>
                    <a:lnTo>
                      <a:pt x="951" y="1"/>
                    </a:lnTo>
                    <a:lnTo>
                      <a:pt x="103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41" name="Freeform 20"/>
              <p:cNvSpPr>
                <a:spLocks/>
              </p:cNvSpPr>
              <p:nvPr/>
            </p:nvSpPr>
            <p:spPr bwMode="auto">
              <a:xfrm>
                <a:off x="4560888" y="3543300"/>
                <a:ext cx="46038" cy="38100"/>
              </a:xfrm>
              <a:custGeom>
                <a:avLst/>
                <a:gdLst>
                  <a:gd name="T0" fmla="*/ 239 w 289"/>
                  <a:gd name="T1" fmla="*/ 0 h 231"/>
                  <a:gd name="T2" fmla="*/ 289 w 289"/>
                  <a:gd name="T3" fmla="*/ 151 h 231"/>
                  <a:gd name="T4" fmla="*/ 50 w 289"/>
                  <a:gd name="T5" fmla="*/ 231 h 231"/>
                  <a:gd name="T6" fmla="*/ 0 w 289"/>
                  <a:gd name="T7" fmla="*/ 79 h 231"/>
                  <a:gd name="T8" fmla="*/ 239 w 289"/>
                  <a:gd name="T9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231">
                    <a:moveTo>
                      <a:pt x="239" y="0"/>
                    </a:moveTo>
                    <a:lnTo>
                      <a:pt x="289" y="151"/>
                    </a:lnTo>
                    <a:lnTo>
                      <a:pt x="50" y="231"/>
                    </a:lnTo>
                    <a:lnTo>
                      <a:pt x="0" y="79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42" name="Freeform 21"/>
              <p:cNvSpPr>
                <a:spLocks/>
              </p:cNvSpPr>
              <p:nvPr/>
            </p:nvSpPr>
            <p:spPr bwMode="auto">
              <a:xfrm>
                <a:off x="4670426" y="3521075"/>
                <a:ext cx="42863" cy="44450"/>
              </a:xfrm>
              <a:custGeom>
                <a:avLst/>
                <a:gdLst>
                  <a:gd name="T0" fmla="*/ 159 w 271"/>
                  <a:gd name="T1" fmla="*/ 0 h 273"/>
                  <a:gd name="T2" fmla="*/ 271 w 271"/>
                  <a:gd name="T3" fmla="*/ 113 h 273"/>
                  <a:gd name="T4" fmla="*/ 113 w 271"/>
                  <a:gd name="T5" fmla="*/ 273 h 273"/>
                  <a:gd name="T6" fmla="*/ 0 w 271"/>
                  <a:gd name="T7" fmla="*/ 160 h 273"/>
                  <a:gd name="T8" fmla="*/ 159 w 271"/>
                  <a:gd name="T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1" h="273">
                    <a:moveTo>
                      <a:pt x="159" y="0"/>
                    </a:moveTo>
                    <a:lnTo>
                      <a:pt x="271" y="113"/>
                    </a:lnTo>
                    <a:lnTo>
                      <a:pt x="113" y="273"/>
                    </a:lnTo>
                    <a:lnTo>
                      <a:pt x="0" y="160"/>
                    </a:lnTo>
                    <a:lnTo>
                      <a:pt x="15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43" name="Freeform 22"/>
              <p:cNvSpPr>
                <a:spLocks/>
              </p:cNvSpPr>
              <p:nvPr/>
            </p:nvSpPr>
            <p:spPr bwMode="auto">
              <a:xfrm>
                <a:off x="4759326" y="3533775"/>
                <a:ext cx="42863" cy="44450"/>
              </a:xfrm>
              <a:custGeom>
                <a:avLst/>
                <a:gdLst>
                  <a:gd name="T0" fmla="*/ 113 w 272"/>
                  <a:gd name="T1" fmla="*/ 0 h 273"/>
                  <a:gd name="T2" fmla="*/ 272 w 272"/>
                  <a:gd name="T3" fmla="*/ 160 h 273"/>
                  <a:gd name="T4" fmla="*/ 160 w 272"/>
                  <a:gd name="T5" fmla="*/ 273 h 273"/>
                  <a:gd name="T6" fmla="*/ 0 w 272"/>
                  <a:gd name="T7" fmla="*/ 113 h 273"/>
                  <a:gd name="T8" fmla="*/ 113 w 272"/>
                  <a:gd name="T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273">
                    <a:moveTo>
                      <a:pt x="113" y="0"/>
                    </a:moveTo>
                    <a:lnTo>
                      <a:pt x="272" y="160"/>
                    </a:lnTo>
                    <a:lnTo>
                      <a:pt x="160" y="273"/>
                    </a:lnTo>
                    <a:lnTo>
                      <a:pt x="0" y="113"/>
                    </a:lnTo>
                    <a:lnTo>
                      <a:pt x="11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4538901" y="2597534"/>
              <a:ext cx="928645" cy="928645"/>
              <a:chOff x="4483100" y="2597534"/>
              <a:chExt cx="928645" cy="928645"/>
            </a:xfrm>
          </p:grpSpPr>
          <p:cxnSp>
            <p:nvCxnSpPr>
              <p:cNvPr id="45" name="Straight Connector 44"/>
              <p:cNvCxnSpPr>
                <a:stCxn id="46" idx="7"/>
                <a:endCxn id="46" idx="3"/>
              </p:cNvCxnSpPr>
              <p:nvPr/>
            </p:nvCxnSpPr>
            <p:spPr bwMode="gray">
              <a:xfrm flipH="1">
                <a:off x="4619097" y="2733531"/>
                <a:ext cx="656651" cy="656651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/>
              <p:cNvSpPr/>
              <p:nvPr/>
            </p:nvSpPr>
            <p:spPr bwMode="gray">
              <a:xfrm>
                <a:off x="4483100" y="2597534"/>
                <a:ext cx="928645" cy="928645"/>
              </a:xfrm>
              <a:prstGeom prst="ellips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sz="1400" dirty="0"/>
              </a:p>
            </p:txBody>
          </p:sp>
        </p:grpSp>
      </p:grpSp>
      <p:grpSp>
        <p:nvGrpSpPr>
          <p:cNvPr id="54" name="Group 53"/>
          <p:cNvGrpSpPr>
            <a:grpSpLocks noChangeAspect="1"/>
          </p:cNvGrpSpPr>
          <p:nvPr/>
        </p:nvGrpSpPr>
        <p:grpSpPr>
          <a:xfrm>
            <a:off x="4497540" y="2732479"/>
            <a:ext cx="1005665" cy="1005665"/>
            <a:chOff x="1554474" y="2597534"/>
            <a:chExt cx="928645" cy="928645"/>
          </a:xfrm>
        </p:grpSpPr>
        <p:grpSp>
          <p:nvGrpSpPr>
            <p:cNvPr id="25" name="Group 24"/>
            <p:cNvGrpSpPr>
              <a:grpSpLocks noChangeAspect="1"/>
            </p:cNvGrpSpPr>
            <p:nvPr/>
          </p:nvGrpSpPr>
          <p:grpSpPr>
            <a:xfrm>
              <a:off x="1804484" y="2780869"/>
              <a:ext cx="428625" cy="561975"/>
              <a:chOff x="930275" y="1974850"/>
              <a:chExt cx="428625" cy="561975"/>
            </a:xfrm>
          </p:grpSpPr>
          <p:sp>
            <p:nvSpPr>
              <p:cNvPr id="35" name="Freeform 15"/>
              <p:cNvSpPr>
                <a:spLocks noEditPoints="1"/>
              </p:cNvSpPr>
              <p:nvPr/>
            </p:nvSpPr>
            <p:spPr bwMode="auto">
              <a:xfrm>
                <a:off x="930275" y="1974850"/>
                <a:ext cx="428625" cy="561975"/>
              </a:xfrm>
              <a:custGeom>
                <a:avLst/>
                <a:gdLst>
                  <a:gd name="T0" fmla="*/ 159 w 2700"/>
                  <a:gd name="T1" fmla="*/ 161 h 3540"/>
                  <a:gd name="T2" fmla="*/ 159 w 2700"/>
                  <a:gd name="T3" fmla="*/ 3379 h 3540"/>
                  <a:gd name="T4" fmla="*/ 2541 w 2700"/>
                  <a:gd name="T5" fmla="*/ 3379 h 3540"/>
                  <a:gd name="T6" fmla="*/ 2541 w 2700"/>
                  <a:gd name="T7" fmla="*/ 161 h 3540"/>
                  <a:gd name="T8" fmla="*/ 159 w 2700"/>
                  <a:gd name="T9" fmla="*/ 161 h 3540"/>
                  <a:gd name="T10" fmla="*/ 79 w 2700"/>
                  <a:gd name="T11" fmla="*/ 0 h 3540"/>
                  <a:gd name="T12" fmla="*/ 2621 w 2700"/>
                  <a:gd name="T13" fmla="*/ 0 h 3540"/>
                  <a:gd name="T14" fmla="*/ 2700 w 2700"/>
                  <a:gd name="T15" fmla="*/ 80 h 3540"/>
                  <a:gd name="T16" fmla="*/ 2700 w 2700"/>
                  <a:gd name="T17" fmla="*/ 3460 h 3540"/>
                  <a:gd name="T18" fmla="*/ 2621 w 2700"/>
                  <a:gd name="T19" fmla="*/ 3540 h 3540"/>
                  <a:gd name="T20" fmla="*/ 79 w 2700"/>
                  <a:gd name="T21" fmla="*/ 3540 h 3540"/>
                  <a:gd name="T22" fmla="*/ 0 w 2700"/>
                  <a:gd name="T23" fmla="*/ 3460 h 3540"/>
                  <a:gd name="T24" fmla="*/ 0 w 2700"/>
                  <a:gd name="T25" fmla="*/ 80 h 3540"/>
                  <a:gd name="T26" fmla="*/ 79 w 2700"/>
                  <a:gd name="T27" fmla="*/ 0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00" h="3540">
                    <a:moveTo>
                      <a:pt x="159" y="161"/>
                    </a:moveTo>
                    <a:lnTo>
                      <a:pt x="159" y="3379"/>
                    </a:lnTo>
                    <a:lnTo>
                      <a:pt x="2541" y="3379"/>
                    </a:lnTo>
                    <a:lnTo>
                      <a:pt x="2541" y="161"/>
                    </a:lnTo>
                    <a:lnTo>
                      <a:pt x="159" y="161"/>
                    </a:lnTo>
                    <a:close/>
                    <a:moveTo>
                      <a:pt x="79" y="0"/>
                    </a:moveTo>
                    <a:lnTo>
                      <a:pt x="2621" y="0"/>
                    </a:lnTo>
                    <a:lnTo>
                      <a:pt x="2700" y="80"/>
                    </a:lnTo>
                    <a:lnTo>
                      <a:pt x="2700" y="3460"/>
                    </a:lnTo>
                    <a:lnTo>
                      <a:pt x="2621" y="3540"/>
                    </a:lnTo>
                    <a:lnTo>
                      <a:pt x="79" y="3540"/>
                    </a:lnTo>
                    <a:lnTo>
                      <a:pt x="0" y="3460"/>
                    </a:lnTo>
                    <a:lnTo>
                      <a:pt x="0" y="8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36" name="Freeform 16"/>
              <p:cNvSpPr>
                <a:spLocks noEditPoints="1"/>
              </p:cNvSpPr>
              <p:nvPr/>
            </p:nvSpPr>
            <p:spPr bwMode="auto">
              <a:xfrm>
                <a:off x="1106488" y="2422525"/>
                <a:ext cx="76200" cy="76200"/>
              </a:xfrm>
              <a:custGeom>
                <a:avLst/>
                <a:gdLst>
                  <a:gd name="T0" fmla="*/ 215 w 476"/>
                  <a:gd name="T1" fmla="*/ 165 h 483"/>
                  <a:gd name="T2" fmla="*/ 194 w 476"/>
                  <a:gd name="T3" fmla="*/ 175 h 483"/>
                  <a:gd name="T4" fmla="*/ 177 w 476"/>
                  <a:gd name="T5" fmla="*/ 190 h 483"/>
                  <a:gd name="T6" fmla="*/ 165 w 476"/>
                  <a:gd name="T7" fmla="*/ 210 h 483"/>
                  <a:gd name="T8" fmla="*/ 159 w 476"/>
                  <a:gd name="T9" fmla="*/ 241 h 483"/>
                  <a:gd name="T10" fmla="*/ 165 w 476"/>
                  <a:gd name="T11" fmla="*/ 272 h 483"/>
                  <a:gd name="T12" fmla="*/ 182 w 476"/>
                  <a:gd name="T13" fmla="*/ 298 h 483"/>
                  <a:gd name="T14" fmla="*/ 200 w 476"/>
                  <a:gd name="T15" fmla="*/ 312 h 483"/>
                  <a:gd name="T16" fmla="*/ 231 w 476"/>
                  <a:gd name="T17" fmla="*/ 322 h 483"/>
                  <a:gd name="T18" fmla="*/ 261 w 476"/>
                  <a:gd name="T19" fmla="*/ 319 h 483"/>
                  <a:gd name="T20" fmla="*/ 289 w 476"/>
                  <a:gd name="T21" fmla="*/ 303 h 483"/>
                  <a:gd name="T22" fmla="*/ 311 w 476"/>
                  <a:gd name="T23" fmla="*/ 272 h 483"/>
                  <a:gd name="T24" fmla="*/ 317 w 476"/>
                  <a:gd name="T25" fmla="*/ 241 h 483"/>
                  <a:gd name="T26" fmla="*/ 311 w 476"/>
                  <a:gd name="T27" fmla="*/ 210 h 483"/>
                  <a:gd name="T28" fmla="*/ 299 w 476"/>
                  <a:gd name="T29" fmla="*/ 190 h 483"/>
                  <a:gd name="T30" fmla="*/ 276 w 476"/>
                  <a:gd name="T31" fmla="*/ 170 h 483"/>
                  <a:gd name="T32" fmla="*/ 245 w 476"/>
                  <a:gd name="T33" fmla="*/ 162 h 483"/>
                  <a:gd name="T34" fmla="*/ 270 w 476"/>
                  <a:gd name="T35" fmla="*/ 2 h 483"/>
                  <a:gd name="T36" fmla="*/ 330 w 476"/>
                  <a:gd name="T37" fmla="*/ 19 h 483"/>
                  <a:gd name="T38" fmla="*/ 384 w 476"/>
                  <a:gd name="T39" fmla="*/ 50 h 483"/>
                  <a:gd name="T40" fmla="*/ 417 w 476"/>
                  <a:gd name="T41" fmla="*/ 83 h 483"/>
                  <a:gd name="T42" fmla="*/ 443 w 476"/>
                  <a:gd name="T43" fmla="*/ 119 h 483"/>
                  <a:gd name="T44" fmla="*/ 462 w 476"/>
                  <a:gd name="T45" fmla="*/ 162 h 483"/>
                  <a:gd name="T46" fmla="*/ 476 w 476"/>
                  <a:gd name="T47" fmla="*/ 241 h 483"/>
                  <a:gd name="T48" fmla="*/ 462 w 476"/>
                  <a:gd name="T49" fmla="*/ 321 h 483"/>
                  <a:gd name="T50" fmla="*/ 443 w 476"/>
                  <a:gd name="T51" fmla="*/ 364 h 483"/>
                  <a:gd name="T52" fmla="*/ 396 w 476"/>
                  <a:gd name="T53" fmla="*/ 423 h 483"/>
                  <a:gd name="T54" fmla="*/ 345 w 476"/>
                  <a:gd name="T55" fmla="*/ 457 h 483"/>
                  <a:gd name="T56" fmla="*/ 302 w 476"/>
                  <a:gd name="T57" fmla="*/ 474 h 483"/>
                  <a:gd name="T58" fmla="*/ 206 w 476"/>
                  <a:gd name="T59" fmla="*/ 480 h 483"/>
                  <a:gd name="T60" fmla="*/ 146 w 476"/>
                  <a:gd name="T61" fmla="*/ 463 h 483"/>
                  <a:gd name="T62" fmla="*/ 105 w 476"/>
                  <a:gd name="T63" fmla="*/ 441 h 483"/>
                  <a:gd name="T64" fmla="*/ 70 w 476"/>
                  <a:gd name="T65" fmla="*/ 412 h 483"/>
                  <a:gd name="T66" fmla="*/ 33 w 476"/>
                  <a:gd name="T67" fmla="*/ 364 h 483"/>
                  <a:gd name="T68" fmla="*/ 14 w 476"/>
                  <a:gd name="T69" fmla="*/ 321 h 483"/>
                  <a:gd name="T70" fmla="*/ 0 w 476"/>
                  <a:gd name="T71" fmla="*/ 241 h 483"/>
                  <a:gd name="T72" fmla="*/ 14 w 476"/>
                  <a:gd name="T73" fmla="*/ 162 h 483"/>
                  <a:gd name="T74" fmla="*/ 33 w 476"/>
                  <a:gd name="T75" fmla="*/ 119 h 483"/>
                  <a:gd name="T76" fmla="*/ 59 w 476"/>
                  <a:gd name="T77" fmla="*/ 83 h 483"/>
                  <a:gd name="T78" fmla="*/ 93 w 476"/>
                  <a:gd name="T79" fmla="*/ 50 h 483"/>
                  <a:gd name="T80" fmla="*/ 131 w 476"/>
                  <a:gd name="T81" fmla="*/ 26 h 483"/>
                  <a:gd name="T82" fmla="*/ 174 w 476"/>
                  <a:gd name="T83" fmla="*/ 8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76" h="483">
                    <a:moveTo>
                      <a:pt x="238" y="161"/>
                    </a:moveTo>
                    <a:lnTo>
                      <a:pt x="231" y="162"/>
                    </a:lnTo>
                    <a:lnTo>
                      <a:pt x="215" y="165"/>
                    </a:lnTo>
                    <a:lnTo>
                      <a:pt x="207" y="167"/>
                    </a:lnTo>
                    <a:lnTo>
                      <a:pt x="200" y="170"/>
                    </a:lnTo>
                    <a:lnTo>
                      <a:pt x="194" y="175"/>
                    </a:lnTo>
                    <a:lnTo>
                      <a:pt x="188" y="179"/>
                    </a:lnTo>
                    <a:lnTo>
                      <a:pt x="182" y="184"/>
                    </a:lnTo>
                    <a:lnTo>
                      <a:pt x="177" y="190"/>
                    </a:lnTo>
                    <a:lnTo>
                      <a:pt x="172" y="196"/>
                    </a:lnTo>
                    <a:lnTo>
                      <a:pt x="168" y="203"/>
                    </a:lnTo>
                    <a:lnTo>
                      <a:pt x="165" y="210"/>
                    </a:lnTo>
                    <a:lnTo>
                      <a:pt x="163" y="218"/>
                    </a:lnTo>
                    <a:lnTo>
                      <a:pt x="160" y="234"/>
                    </a:lnTo>
                    <a:lnTo>
                      <a:pt x="159" y="241"/>
                    </a:lnTo>
                    <a:lnTo>
                      <a:pt x="160" y="249"/>
                    </a:lnTo>
                    <a:lnTo>
                      <a:pt x="163" y="266"/>
                    </a:lnTo>
                    <a:lnTo>
                      <a:pt x="165" y="272"/>
                    </a:lnTo>
                    <a:lnTo>
                      <a:pt x="168" y="280"/>
                    </a:lnTo>
                    <a:lnTo>
                      <a:pt x="177" y="293"/>
                    </a:lnTo>
                    <a:lnTo>
                      <a:pt x="182" y="298"/>
                    </a:lnTo>
                    <a:lnTo>
                      <a:pt x="188" y="303"/>
                    </a:lnTo>
                    <a:lnTo>
                      <a:pt x="194" y="308"/>
                    </a:lnTo>
                    <a:lnTo>
                      <a:pt x="200" y="312"/>
                    </a:lnTo>
                    <a:lnTo>
                      <a:pt x="207" y="315"/>
                    </a:lnTo>
                    <a:lnTo>
                      <a:pt x="215" y="319"/>
                    </a:lnTo>
                    <a:lnTo>
                      <a:pt x="231" y="322"/>
                    </a:lnTo>
                    <a:lnTo>
                      <a:pt x="238" y="322"/>
                    </a:lnTo>
                    <a:lnTo>
                      <a:pt x="245" y="322"/>
                    </a:lnTo>
                    <a:lnTo>
                      <a:pt x="261" y="319"/>
                    </a:lnTo>
                    <a:lnTo>
                      <a:pt x="269" y="315"/>
                    </a:lnTo>
                    <a:lnTo>
                      <a:pt x="276" y="312"/>
                    </a:lnTo>
                    <a:lnTo>
                      <a:pt x="289" y="303"/>
                    </a:lnTo>
                    <a:lnTo>
                      <a:pt x="299" y="293"/>
                    </a:lnTo>
                    <a:lnTo>
                      <a:pt x="308" y="280"/>
                    </a:lnTo>
                    <a:lnTo>
                      <a:pt x="311" y="272"/>
                    </a:lnTo>
                    <a:lnTo>
                      <a:pt x="313" y="266"/>
                    </a:lnTo>
                    <a:lnTo>
                      <a:pt x="317" y="249"/>
                    </a:lnTo>
                    <a:lnTo>
                      <a:pt x="317" y="241"/>
                    </a:lnTo>
                    <a:lnTo>
                      <a:pt x="317" y="234"/>
                    </a:lnTo>
                    <a:lnTo>
                      <a:pt x="313" y="218"/>
                    </a:lnTo>
                    <a:lnTo>
                      <a:pt x="311" y="210"/>
                    </a:lnTo>
                    <a:lnTo>
                      <a:pt x="308" y="203"/>
                    </a:lnTo>
                    <a:lnTo>
                      <a:pt x="304" y="196"/>
                    </a:lnTo>
                    <a:lnTo>
                      <a:pt x="299" y="190"/>
                    </a:lnTo>
                    <a:lnTo>
                      <a:pt x="294" y="184"/>
                    </a:lnTo>
                    <a:lnTo>
                      <a:pt x="289" y="179"/>
                    </a:lnTo>
                    <a:lnTo>
                      <a:pt x="276" y="170"/>
                    </a:lnTo>
                    <a:lnTo>
                      <a:pt x="269" y="167"/>
                    </a:lnTo>
                    <a:lnTo>
                      <a:pt x="261" y="165"/>
                    </a:lnTo>
                    <a:lnTo>
                      <a:pt x="245" y="162"/>
                    </a:lnTo>
                    <a:lnTo>
                      <a:pt x="238" y="161"/>
                    </a:lnTo>
                    <a:close/>
                    <a:moveTo>
                      <a:pt x="238" y="0"/>
                    </a:moveTo>
                    <a:lnTo>
                      <a:pt x="270" y="2"/>
                    </a:lnTo>
                    <a:lnTo>
                      <a:pt x="302" y="8"/>
                    </a:lnTo>
                    <a:lnTo>
                      <a:pt x="316" y="14"/>
                    </a:lnTo>
                    <a:lnTo>
                      <a:pt x="330" y="19"/>
                    </a:lnTo>
                    <a:lnTo>
                      <a:pt x="345" y="26"/>
                    </a:lnTo>
                    <a:lnTo>
                      <a:pt x="359" y="33"/>
                    </a:lnTo>
                    <a:lnTo>
                      <a:pt x="384" y="50"/>
                    </a:lnTo>
                    <a:lnTo>
                      <a:pt x="396" y="60"/>
                    </a:lnTo>
                    <a:lnTo>
                      <a:pt x="406" y="71"/>
                    </a:lnTo>
                    <a:lnTo>
                      <a:pt x="417" y="83"/>
                    </a:lnTo>
                    <a:lnTo>
                      <a:pt x="426" y="94"/>
                    </a:lnTo>
                    <a:lnTo>
                      <a:pt x="435" y="106"/>
                    </a:lnTo>
                    <a:lnTo>
                      <a:pt x="443" y="119"/>
                    </a:lnTo>
                    <a:lnTo>
                      <a:pt x="451" y="133"/>
                    </a:lnTo>
                    <a:lnTo>
                      <a:pt x="457" y="148"/>
                    </a:lnTo>
                    <a:lnTo>
                      <a:pt x="462" y="162"/>
                    </a:lnTo>
                    <a:lnTo>
                      <a:pt x="468" y="177"/>
                    </a:lnTo>
                    <a:lnTo>
                      <a:pt x="474" y="209"/>
                    </a:lnTo>
                    <a:lnTo>
                      <a:pt x="476" y="241"/>
                    </a:lnTo>
                    <a:lnTo>
                      <a:pt x="474" y="273"/>
                    </a:lnTo>
                    <a:lnTo>
                      <a:pt x="468" y="306"/>
                    </a:lnTo>
                    <a:lnTo>
                      <a:pt x="462" y="321"/>
                    </a:lnTo>
                    <a:lnTo>
                      <a:pt x="457" y="335"/>
                    </a:lnTo>
                    <a:lnTo>
                      <a:pt x="451" y="350"/>
                    </a:lnTo>
                    <a:lnTo>
                      <a:pt x="443" y="364"/>
                    </a:lnTo>
                    <a:lnTo>
                      <a:pt x="426" y="389"/>
                    </a:lnTo>
                    <a:lnTo>
                      <a:pt x="417" y="401"/>
                    </a:lnTo>
                    <a:lnTo>
                      <a:pt x="396" y="423"/>
                    </a:lnTo>
                    <a:lnTo>
                      <a:pt x="384" y="432"/>
                    </a:lnTo>
                    <a:lnTo>
                      <a:pt x="359" y="449"/>
                    </a:lnTo>
                    <a:lnTo>
                      <a:pt x="345" y="457"/>
                    </a:lnTo>
                    <a:lnTo>
                      <a:pt x="330" y="463"/>
                    </a:lnTo>
                    <a:lnTo>
                      <a:pt x="316" y="469"/>
                    </a:lnTo>
                    <a:lnTo>
                      <a:pt x="302" y="474"/>
                    </a:lnTo>
                    <a:lnTo>
                      <a:pt x="270" y="480"/>
                    </a:lnTo>
                    <a:lnTo>
                      <a:pt x="238" y="483"/>
                    </a:lnTo>
                    <a:lnTo>
                      <a:pt x="206" y="480"/>
                    </a:lnTo>
                    <a:lnTo>
                      <a:pt x="174" y="474"/>
                    </a:lnTo>
                    <a:lnTo>
                      <a:pt x="160" y="469"/>
                    </a:lnTo>
                    <a:lnTo>
                      <a:pt x="146" y="463"/>
                    </a:lnTo>
                    <a:lnTo>
                      <a:pt x="131" y="457"/>
                    </a:lnTo>
                    <a:lnTo>
                      <a:pt x="117" y="449"/>
                    </a:lnTo>
                    <a:lnTo>
                      <a:pt x="105" y="441"/>
                    </a:lnTo>
                    <a:lnTo>
                      <a:pt x="93" y="432"/>
                    </a:lnTo>
                    <a:lnTo>
                      <a:pt x="81" y="423"/>
                    </a:lnTo>
                    <a:lnTo>
                      <a:pt x="70" y="412"/>
                    </a:lnTo>
                    <a:lnTo>
                      <a:pt x="59" y="401"/>
                    </a:lnTo>
                    <a:lnTo>
                      <a:pt x="50" y="389"/>
                    </a:lnTo>
                    <a:lnTo>
                      <a:pt x="33" y="364"/>
                    </a:lnTo>
                    <a:lnTo>
                      <a:pt x="25" y="350"/>
                    </a:lnTo>
                    <a:lnTo>
                      <a:pt x="19" y="335"/>
                    </a:lnTo>
                    <a:lnTo>
                      <a:pt x="14" y="321"/>
                    </a:lnTo>
                    <a:lnTo>
                      <a:pt x="8" y="306"/>
                    </a:lnTo>
                    <a:lnTo>
                      <a:pt x="2" y="273"/>
                    </a:lnTo>
                    <a:lnTo>
                      <a:pt x="0" y="241"/>
                    </a:lnTo>
                    <a:lnTo>
                      <a:pt x="2" y="209"/>
                    </a:lnTo>
                    <a:lnTo>
                      <a:pt x="8" y="177"/>
                    </a:lnTo>
                    <a:lnTo>
                      <a:pt x="14" y="162"/>
                    </a:lnTo>
                    <a:lnTo>
                      <a:pt x="19" y="148"/>
                    </a:lnTo>
                    <a:lnTo>
                      <a:pt x="25" y="133"/>
                    </a:lnTo>
                    <a:lnTo>
                      <a:pt x="33" y="119"/>
                    </a:lnTo>
                    <a:lnTo>
                      <a:pt x="41" y="106"/>
                    </a:lnTo>
                    <a:lnTo>
                      <a:pt x="50" y="94"/>
                    </a:lnTo>
                    <a:lnTo>
                      <a:pt x="59" y="83"/>
                    </a:lnTo>
                    <a:lnTo>
                      <a:pt x="70" y="71"/>
                    </a:lnTo>
                    <a:lnTo>
                      <a:pt x="81" y="60"/>
                    </a:lnTo>
                    <a:lnTo>
                      <a:pt x="93" y="50"/>
                    </a:lnTo>
                    <a:lnTo>
                      <a:pt x="105" y="42"/>
                    </a:lnTo>
                    <a:lnTo>
                      <a:pt x="117" y="33"/>
                    </a:lnTo>
                    <a:lnTo>
                      <a:pt x="131" y="26"/>
                    </a:lnTo>
                    <a:lnTo>
                      <a:pt x="146" y="19"/>
                    </a:lnTo>
                    <a:lnTo>
                      <a:pt x="160" y="14"/>
                    </a:lnTo>
                    <a:lnTo>
                      <a:pt x="174" y="8"/>
                    </a:lnTo>
                    <a:lnTo>
                      <a:pt x="206" y="2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37" name="Freeform 17"/>
              <p:cNvSpPr>
                <a:spLocks noEditPoints="1"/>
              </p:cNvSpPr>
              <p:nvPr/>
            </p:nvSpPr>
            <p:spPr bwMode="auto">
              <a:xfrm>
                <a:off x="981075" y="2025650"/>
                <a:ext cx="327025" cy="384175"/>
              </a:xfrm>
              <a:custGeom>
                <a:avLst/>
                <a:gdLst>
                  <a:gd name="T0" fmla="*/ 158 w 2064"/>
                  <a:gd name="T1" fmla="*/ 161 h 2413"/>
                  <a:gd name="T2" fmla="*/ 158 w 2064"/>
                  <a:gd name="T3" fmla="*/ 2253 h 2413"/>
                  <a:gd name="T4" fmla="*/ 1906 w 2064"/>
                  <a:gd name="T5" fmla="*/ 2253 h 2413"/>
                  <a:gd name="T6" fmla="*/ 1906 w 2064"/>
                  <a:gd name="T7" fmla="*/ 161 h 2413"/>
                  <a:gd name="T8" fmla="*/ 158 w 2064"/>
                  <a:gd name="T9" fmla="*/ 161 h 2413"/>
                  <a:gd name="T10" fmla="*/ 79 w 2064"/>
                  <a:gd name="T11" fmla="*/ 0 h 2413"/>
                  <a:gd name="T12" fmla="*/ 1985 w 2064"/>
                  <a:gd name="T13" fmla="*/ 0 h 2413"/>
                  <a:gd name="T14" fmla="*/ 2064 w 2064"/>
                  <a:gd name="T15" fmla="*/ 80 h 2413"/>
                  <a:gd name="T16" fmla="*/ 2064 w 2064"/>
                  <a:gd name="T17" fmla="*/ 2333 h 2413"/>
                  <a:gd name="T18" fmla="*/ 1985 w 2064"/>
                  <a:gd name="T19" fmla="*/ 2413 h 2413"/>
                  <a:gd name="T20" fmla="*/ 79 w 2064"/>
                  <a:gd name="T21" fmla="*/ 2413 h 2413"/>
                  <a:gd name="T22" fmla="*/ 0 w 2064"/>
                  <a:gd name="T23" fmla="*/ 2333 h 2413"/>
                  <a:gd name="T24" fmla="*/ 0 w 2064"/>
                  <a:gd name="T25" fmla="*/ 80 h 2413"/>
                  <a:gd name="T26" fmla="*/ 79 w 2064"/>
                  <a:gd name="T27" fmla="*/ 0 h 2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64" h="2413">
                    <a:moveTo>
                      <a:pt x="158" y="161"/>
                    </a:moveTo>
                    <a:lnTo>
                      <a:pt x="158" y="2253"/>
                    </a:lnTo>
                    <a:lnTo>
                      <a:pt x="1906" y="2253"/>
                    </a:lnTo>
                    <a:lnTo>
                      <a:pt x="1906" y="161"/>
                    </a:lnTo>
                    <a:lnTo>
                      <a:pt x="158" y="161"/>
                    </a:lnTo>
                    <a:close/>
                    <a:moveTo>
                      <a:pt x="79" y="0"/>
                    </a:moveTo>
                    <a:lnTo>
                      <a:pt x="1985" y="0"/>
                    </a:lnTo>
                    <a:lnTo>
                      <a:pt x="2064" y="80"/>
                    </a:lnTo>
                    <a:lnTo>
                      <a:pt x="2064" y="2333"/>
                    </a:lnTo>
                    <a:lnTo>
                      <a:pt x="1985" y="2413"/>
                    </a:lnTo>
                    <a:lnTo>
                      <a:pt x="79" y="2413"/>
                    </a:lnTo>
                    <a:lnTo>
                      <a:pt x="0" y="2333"/>
                    </a:lnTo>
                    <a:lnTo>
                      <a:pt x="0" y="8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1554474" y="2597534"/>
              <a:ext cx="928645" cy="928645"/>
              <a:chOff x="4483100" y="2597534"/>
              <a:chExt cx="928645" cy="928645"/>
            </a:xfrm>
          </p:grpSpPr>
          <p:cxnSp>
            <p:nvCxnSpPr>
              <p:cNvPr id="52" name="Straight Connector 51"/>
              <p:cNvCxnSpPr>
                <a:stCxn id="53" idx="7"/>
                <a:endCxn id="53" idx="3"/>
              </p:cNvCxnSpPr>
              <p:nvPr/>
            </p:nvCxnSpPr>
            <p:spPr bwMode="gray">
              <a:xfrm flipH="1">
                <a:off x="4619097" y="2733531"/>
                <a:ext cx="656651" cy="656651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Oval 52"/>
              <p:cNvSpPr/>
              <p:nvPr/>
            </p:nvSpPr>
            <p:spPr bwMode="gray">
              <a:xfrm>
                <a:off x="4483100" y="2597534"/>
                <a:ext cx="928645" cy="928645"/>
              </a:xfrm>
              <a:prstGeom prst="ellips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sz="1400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8869774" y="2732479"/>
            <a:ext cx="1005665" cy="1005665"/>
            <a:chOff x="7022331" y="2597533"/>
            <a:chExt cx="1005840" cy="1005840"/>
          </a:xfrm>
        </p:grpSpPr>
        <p:sp>
          <p:nvSpPr>
            <p:cNvPr id="63" name="Oval 62"/>
            <p:cNvSpPr/>
            <p:nvPr/>
          </p:nvSpPr>
          <p:spPr bwMode="gray">
            <a:xfrm>
              <a:off x="7022331" y="2597533"/>
              <a:ext cx="1005840" cy="100584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 sz="1400" dirty="0"/>
            </a:p>
          </p:txBody>
        </p:sp>
        <p:sp>
          <p:nvSpPr>
            <p:cNvPr id="69" name="Text Placeholder 21"/>
            <p:cNvSpPr txBox="1">
              <a:spLocks/>
            </p:cNvSpPr>
            <p:nvPr/>
          </p:nvSpPr>
          <p:spPr>
            <a:xfrm>
              <a:off x="7115236" y="2823406"/>
              <a:ext cx="820031" cy="55409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a-DK" sz="1200" b="1" dirty="0"/>
                <a:t>Hold øjnene på vejen</a:t>
              </a:r>
            </a:p>
          </p:txBody>
        </p:sp>
      </p:grpSp>
      <p:sp>
        <p:nvSpPr>
          <p:cNvPr id="47" name="Text Placeholder 17"/>
          <p:cNvSpPr txBox="1">
            <a:spLocks/>
          </p:cNvSpPr>
          <p:nvPr/>
        </p:nvSpPr>
        <p:spPr>
          <a:xfrm>
            <a:off x="1773988" y="1848671"/>
            <a:ext cx="2080534" cy="725630"/>
          </a:xfrm>
          <a:prstGeom prst="rect">
            <a:avLst/>
          </a:prstGeom>
        </p:spPr>
        <p:txBody>
          <a:bodyPr lIns="0" tIns="0" rIns="0" anchor="b" anchorCtr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Brug sikkerhedssele</a:t>
            </a:r>
          </a:p>
        </p:txBody>
      </p:sp>
      <p:sp>
        <p:nvSpPr>
          <p:cNvPr id="48" name="Content Placeholder 18"/>
          <p:cNvSpPr txBox="1">
            <a:spLocks/>
          </p:cNvSpPr>
          <p:nvPr/>
        </p:nvSpPr>
        <p:spPr>
          <a:xfrm>
            <a:off x="1773988" y="3899961"/>
            <a:ext cx="2080534" cy="1984297"/>
          </a:xfrm>
          <a:prstGeom prst="rect">
            <a:avLst/>
          </a:prstGeom>
        </p:spPr>
        <p:txBody>
          <a:bodyPr lIns="0" r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  <a:ea typeface="ABBvoiceOffice"/>
                <a:cs typeface="ABBvoiceOffice"/>
              </a:rPr>
              <a:t>Brug altid sikkerhedssele</a:t>
            </a:r>
          </a:p>
          <a:p>
            <a:pPr marL="228554" lvl="1" indent="-228554" defTabSz="914217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da-DK" sz="1200" dirty="0">
                <a:solidFill>
                  <a:srgbClr val="000000"/>
                </a:solidFill>
                <a:ea typeface="ABBvoiceOffice"/>
                <a:cs typeface="ABBvoiceOffice"/>
              </a:rPr>
              <a:t>Det kan rede dit liv.</a:t>
            </a:r>
          </a:p>
        </p:txBody>
      </p:sp>
      <p:cxnSp>
        <p:nvCxnSpPr>
          <p:cNvPr id="49" name="Straight Connector 48"/>
          <p:cNvCxnSpPr/>
          <p:nvPr/>
        </p:nvCxnSpPr>
        <p:spPr bwMode="gray">
          <a:xfrm>
            <a:off x="1773988" y="2574301"/>
            <a:ext cx="20805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2311422" y="2732479"/>
            <a:ext cx="1005665" cy="1005665"/>
            <a:chOff x="788352" y="2732357"/>
            <a:chExt cx="1005840" cy="1005840"/>
          </a:xfrm>
        </p:grpSpPr>
        <p:grpSp>
          <p:nvGrpSpPr>
            <p:cNvPr id="58" name="Group 57"/>
            <p:cNvGrpSpPr/>
            <p:nvPr/>
          </p:nvGrpSpPr>
          <p:grpSpPr>
            <a:xfrm>
              <a:off x="788352" y="2732357"/>
              <a:ext cx="1005840" cy="1005840"/>
              <a:chOff x="4483100" y="2597534"/>
              <a:chExt cx="928645" cy="928645"/>
            </a:xfrm>
          </p:grpSpPr>
          <p:cxnSp>
            <p:nvCxnSpPr>
              <p:cNvPr id="59" name="Straight Connector 58"/>
              <p:cNvCxnSpPr>
                <a:stCxn id="60" idx="7"/>
                <a:endCxn id="68" idx="26"/>
              </p:cNvCxnSpPr>
              <p:nvPr/>
            </p:nvCxnSpPr>
            <p:spPr bwMode="gray">
              <a:xfrm flipH="1">
                <a:off x="4845245" y="2733531"/>
                <a:ext cx="430503" cy="40335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Oval 59"/>
              <p:cNvSpPr/>
              <p:nvPr/>
            </p:nvSpPr>
            <p:spPr bwMode="gray">
              <a:xfrm>
                <a:off x="4483100" y="2597534"/>
                <a:ext cx="928645" cy="928645"/>
              </a:xfrm>
              <a:prstGeom prst="ellips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sz="1400" dirty="0"/>
              </a:p>
            </p:txBody>
          </p:sp>
          <p:cxnSp>
            <p:nvCxnSpPr>
              <p:cNvPr id="70" name="Straight Connector 69"/>
              <p:cNvCxnSpPr/>
              <p:nvPr/>
            </p:nvCxnSpPr>
            <p:spPr bwMode="gray">
              <a:xfrm flipH="1">
                <a:off x="4483100" y="3132231"/>
                <a:ext cx="928645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/>
          </p:nvGrpSpPr>
          <p:grpSpPr>
            <a:xfrm>
              <a:off x="1164733" y="2879764"/>
              <a:ext cx="253078" cy="711026"/>
              <a:chOff x="2778125" y="1252538"/>
              <a:chExt cx="200025" cy="561976"/>
            </a:xfrm>
          </p:grpSpPr>
          <p:sp>
            <p:nvSpPr>
              <p:cNvPr id="67" name="Freeform 29"/>
              <p:cNvSpPr>
                <a:spLocks noEditPoints="1"/>
              </p:cNvSpPr>
              <p:nvPr/>
            </p:nvSpPr>
            <p:spPr bwMode="auto">
              <a:xfrm>
                <a:off x="2822575" y="1252538"/>
                <a:ext cx="111125" cy="114300"/>
              </a:xfrm>
              <a:custGeom>
                <a:avLst/>
                <a:gdLst>
                  <a:gd name="T0" fmla="*/ 315 w 710"/>
                  <a:gd name="T1" fmla="*/ 165 h 724"/>
                  <a:gd name="T2" fmla="*/ 261 w 710"/>
                  <a:gd name="T3" fmla="*/ 186 h 724"/>
                  <a:gd name="T4" fmla="*/ 215 w 710"/>
                  <a:gd name="T5" fmla="*/ 220 h 724"/>
                  <a:gd name="T6" fmla="*/ 181 w 710"/>
                  <a:gd name="T7" fmla="*/ 266 h 724"/>
                  <a:gd name="T8" fmla="*/ 162 w 710"/>
                  <a:gd name="T9" fmla="*/ 321 h 724"/>
                  <a:gd name="T10" fmla="*/ 159 w 710"/>
                  <a:gd name="T11" fmla="*/ 379 h 724"/>
                  <a:gd name="T12" fmla="*/ 173 w 710"/>
                  <a:gd name="T13" fmla="*/ 440 h 724"/>
                  <a:gd name="T14" fmla="*/ 203 w 710"/>
                  <a:gd name="T15" fmla="*/ 489 h 724"/>
                  <a:gd name="T16" fmla="*/ 245 w 710"/>
                  <a:gd name="T17" fmla="*/ 529 h 724"/>
                  <a:gd name="T18" fmla="*/ 298 w 710"/>
                  <a:gd name="T19" fmla="*/ 555 h 724"/>
                  <a:gd name="T20" fmla="*/ 355 w 710"/>
                  <a:gd name="T21" fmla="*/ 563 h 724"/>
                  <a:gd name="T22" fmla="*/ 412 w 710"/>
                  <a:gd name="T23" fmla="*/ 555 h 724"/>
                  <a:gd name="T24" fmla="*/ 465 w 710"/>
                  <a:gd name="T25" fmla="*/ 529 h 724"/>
                  <a:gd name="T26" fmla="*/ 507 w 710"/>
                  <a:gd name="T27" fmla="*/ 489 h 724"/>
                  <a:gd name="T28" fmla="*/ 537 w 710"/>
                  <a:gd name="T29" fmla="*/ 440 h 724"/>
                  <a:gd name="T30" fmla="*/ 551 w 710"/>
                  <a:gd name="T31" fmla="*/ 379 h 724"/>
                  <a:gd name="T32" fmla="*/ 548 w 710"/>
                  <a:gd name="T33" fmla="*/ 321 h 724"/>
                  <a:gd name="T34" fmla="*/ 529 w 710"/>
                  <a:gd name="T35" fmla="*/ 266 h 724"/>
                  <a:gd name="T36" fmla="*/ 495 w 710"/>
                  <a:gd name="T37" fmla="*/ 220 h 724"/>
                  <a:gd name="T38" fmla="*/ 450 w 710"/>
                  <a:gd name="T39" fmla="*/ 186 h 724"/>
                  <a:gd name="T40" fmla="*/ 395 w 710"/>
                  <a:gd name="T41" fmla="*/ 165 h 724"/>
                  <a:gd name="T42" fmla="*/ 355 w 710"/>
                  <a:gd name="T43" fmla="*/ 0 h 724"/>
                  <a:gd name="T44" fmla="*/ 426 w 710"/>
                  <a:gd name="T45" fmla="*/ 8 h 724"/>
                  <a:gd name="T46" fmla="*/ 493 w 710"/>
                  <a:gd name="T47" fmla="*/ 29 h 724"/>
                  <a:gd name="T48" fmla="*/ 553 w 710"/>
                  <a:gd name="T49" fmla="*/ 62 h 724"/>
                  <a:gd name="T50" fmla="*/ 606 w 710"/>
                  <a:gd name="T51" fmla="*/ 106 h 724"/>
                  <a:gd name="T52" fmla="*/ 649 w 710"/>
                  <a:gd name="T53" fmla="*/ 160 h 724"/>
                  <a:gd name="T54" fmla="*/ 682 w 710"/>
                  <a:gd name="T55" fmla="*/ 221 h 724"/>
                  <a:gd name="T56" fmla="*/ 703 w 710"/>
                  <a:gd name="T57" fmla="*/ 289 h 724"/>
                  <a:gd name="T58" fmla="*/ 710 w 710"/>
                  <a:gd name="T59" fmla="*/ 362 h 724"/>
                  <a:gd name="T60" fmla="*/ 703 w 710"/>
                  <a:gd name="T61" fmla="*/ 434 h 724"/>
                  <a:gd name="T62" fmla="*/ 682 w 710"/>
                  <a:gd name="T63" fmla="*/ 502 h 724"/>
                  <a:gd name="T64" fmla="*/ 649 w 710"/>
                  <a:gd name="T65" fmla="*/ 564 h 724"/>
                  <a:gd name="T66" fmla="*/ 606 w 710"/>
                  <a:gd name="T67" fmla="*/ 618 h 724"/>
                  <a:gd name="T68" fmla="*/ 553 w 710"/>
                  <a:gd name="T69" fmla="*/ 662 h 724"/>
                  <a:gd name="T70" fmla="*/ 493 w 710"/>
                  <a:gd name="T71" fmla="*/ 695 h 724"/>
                  <a:gd name="T72" fmla="*/ 426 w 710"/>
                  <a:gd name="T73" fmla="*/ 717 h 724"/>
                  <a:gd name="T74" fmla="*/ 355 w 710"/>
                  <a:gd name="T75" fmla="*/ 724 h 724"/>
                  <a:gd name="T76" fmla="*/ 284 w 710"/>
                  <a:gd name="T77" fmla="*/ 717 h 724"/>
                  <a:gd name="T78" fmla="*/ 217 w 710"/>
                  <a:gd name="T79" fmla="*/ 695 h 724"/>
                  <a:gd name="T80" fmla="*/ 157 w 710"/>
                  <a:gd name="T81" fmla="*/ 662 h 724"/>
                  <a:gd name="T82" fmla="*/ 104 w 710"/>
                  <a:gd name="T83" fmla="*/ 618 h 724"/>
                  <a:gd name="T84" fmla="*/ 61 w 710"/>
                  <a:gd name="T85" fmla="*/ 564 h 724"/>
                  <a:gd name="T86" fmla="*/ 28 w 710"/>
                  <a:gd name="T87" fmla="*/ 502 h 724"/>
                  <a:gd name="T88" fmla="*/ 7 w 710"/>
                  <a:gd name="T89" fmla="*/ 434 h 724"/>
                  <a:gd name="T90" fmla="*/ 0 w 710"/>
                  <a:gd name="T91" fmla="*/ 362 h 724"/>
                  <a:gd name="T92" fmla="*/ 7 w 710"/>
                  <a:gd name="T93" fmla="*/ 289 h 724"/>
                  <a:gd name="T94" fmla="*/ 28 w 710"/>
                  <a:gd name="T95" fmla="*/ 221 h 724"/>
                  <a:gd name="T96" fmla="*/ 61 w 710"/>
                  <a:gd name="T97" fmla="*/ 160 h 724"/>
                  <a:gd name="T98" fmla="*/ 104 w 710"/>
                  <a:gd name="T99" fmla="*/ 106 h 724"/>
                  <a:gd name="T100" fmla="*/ 157 w 710"/>
                  <a:gd name="T101" fmla="*/ 62 h 724"/>
                  <a:gd name="T102" fmla="*/ 217 w 710"/>
                  <a:gd name="T103" fmla="*/ 29 h 724"/>
                  <a:gd name="T104" fmla="*/ 284 w 710"/>
                  <a:gd name="T105" fmla="*/ 8 h 724"/>
                  <a:gd name="T106" fmla="*/ 355 w 710"/>
                  <a:gd name="T107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10" h="724">
                    <a:moveTo>
                      <a:pt x="355" y="161"/>
                    </a:moveTo>
                    <a:lnTo>
                      <a:pt x="338" y="162"/>
                    </a:lnTo>
                    <a:lnTo>
                      <a:pt x="315" y="165"/>
                    </a:lnTo>
                    <a:lnTo>
                      <a:pt x="298" y="169"/>
                    </a:lnTo>
                    <a:lnTo>
                      <a:pt x="278" y="177"/>
                    </a:lnTo>
                    <a:lnTo>
                      <a:pt x="261" y="186"/>
                    </a:lnTo>
                    <a:lnTo>
                      <a:pt x="245" y="195"/>
                    </a:lnTo>
                    <a:lnTo>
                      <a:pt x="230" y="207"/>
                    </a:lnTo>
                    <a:lnTo>
                      <a:pt x="215" y="220"/>
                    </a:lnTo>
                    <a:lnTo>
                      <a:pt x="203" y="235"/>
                    </a:lnTo>
                    <a:lnTo>
                      <a:pt x="191" y="250"/>
                    </a:lnTo>
                    <a:lnTo>
                      <a:pt x="181" y="266"/>
                    </a:lnTo>
                    <a:lnTo>
                      <a:pt x="173" y="283"/>
                    </a:lnTo>
                    <a:lnTo>
                      <a:pt x="166" y="304"/>
                    </a:lnTo>
                    <a:lnTo>
                      <a:pt x="162" y="321"/>
                    </a:lnTo>
                    <a:lnTo>
                      <a:pt x="159" y="344"/>
                    </a:lnTo>
                    <a:lnTo>
                      <a:pt x="158" y="362"/>
                    </a:lnTo>
                    <a:lnTo>
                      <a:pt x="159" y="379"/>
                    </a:lnTo>
                    <a:lnTo>
                      <a:pt x="162" y="402"/>
                    </a:lnTo>
                    <a:lnTo>
                      <a:pt x="166" y="419"/>
                    </a:lnTo>
                    <a:lnTo>
                      <a:pt x="173" y="440"/>
                    </a:lnTo>
                    <a:lnTo>
                      <a:pt x="182" y="458"/>
                    </a:lnTo>
                    <a:lnTo>
                      <a:pt x="191" y="474"/>
                    </a:lnTo>
                    <a:lnTo>
                      <a:pt x="203" y="489"/>
                    </a:lnTo>
                    <a:lnTo>
                      <a:pt x="215" y="504"/>
                    </a:lnTo>
                    <a:lnTo>
                      <a:pt x="230" y="517"/>
                    </a:lnTo>
                    <a:lnTo>
                      <a:pt x="245" y="529"/>
                    </a:lnTo>
                    <a:lnTo>
                      <a:pt x="261" y="539"/>
                    </a:lnTo>
                    <a:lnTo>
                      <a:pt x="278" y="547"/>
                    </a:lnTo>
                    <a:lnTo>
                      <a:pt x="298" y="555"/>
                    </a:lnTo>
                    <a:lnTo>
                      <a:pt x="315" y="559"/>
                    </a:lnTo>
                    <a:lnTo>
                      <a:pt x="338" y="562"/>
                    </a:lnTo>
                    <a:lnTo>
                      <a:pt x="355" y="563"/>
                    </a:lnTo>
                    <a:lnTo>
                      <a:pt x="372" y="562"/>
                    </a:lnTo>
                    <a:lnTo>
                      <a:pt x="395" y="559"/>
                    </a:lnTo>
                    <a:lnTo>
                      <a:pt x="412" y="555"/>
                    </a:lnTo>
                    <a:lnTo>
                      <a:pt x="432" y="547"/>
                    </a:lnTo>
                    <a:lnTo>
                      <a:pt x="450" y="539"/>
                    </a:lnTo>
                    <a:lnTo>
                      <a:pt x="465" y="529"/>
                    </a:lnTo>
                    <a:lnTo>
                      <a:pt x="480" y="517"/>
                    </a:lnTo>
                    <a:lnTo>
                      <a:pt x="495" y="504"/>
                    </a:lnTo>
                    <a:lnTo>
                      <a:pt x="507" y="489"/>
                    </a:lnTo>
                    <a:lnTo>
                      <a:pt x="519" y="474"/>
                    </a:lnTo>
                    <a:lnTo>
                      <a:pt x="528" y="458"/>
                    </a:lnTo>
                    <a:lnTo>
                      <a:pt x="537" y="440"/>
                    </a:lnTo>
                    <a:lnTo>
                      <a:pt x="544" y="419"/>
                    </a:lnTo>
                    <a:lnTo>
                      <a:pt x="548" y="402"/>
                    </a:lnTo>
                    <a:lnTo>
                      <a:pt x="551" y="379"/>
                    </a:lnTo>
                    <a:lnTo>
                      <a:pt x="552" y="362"/>
                    </a:lnTo>
                    <a:lnTo>
                      <a:pt x="551" y="344"/>
                    </a:lnTo>
                    <a:lnTo>
                      <a:pt x="548" y="321"/>
                    </a:lnTo>
                    <a:lnTo>
                      <a:pt x="544" y="304"/>
                    </a:lnTo>
                    <a:lnTo>
                      <a:pt x="537" y="283"/>
                    </a:lnTo>
                    <a:lnTo>
                      <a:pt x="529" y="266"/>
                    </a:lnTo>
                    <a:lnTo>
                      <a:pt x="519" y="250"/>
                    </a:lnTo>
                    <a:lnTo>
                      <a:pt x="507" y="235"/>
                    </a:lnTo>
                    <a:lnTo>
                      <a:pt x="495" y="220"/>
                    </a:lnTo>
                    <a:lnTo>
                      <a:pt x="480" y="207"/>
                    </a:lnTo>
                    <a:lnTo>
                      <a:pt x="465" y="195"/>
                    </a:lnTo>
                    <a:lnTo>
                      <a:pt x="450" y="186"/>
                    </a:lnTo>
                    <a:lnTo>
                      <a:pt x="432" y="177"/>
                    </a:lnTo>
                    <a:lnTo>
                      <a:pt x="412" y="169"/>
                    </a:lnTo>
                    <a:lnTo>
                      <a:pt x="395" y="165"/>
                    </a:lnTo>
                    <a:lnTo>
                      <a:pt x="372" y="162"/>
                    </a:lnTo>
                    <a:lnTo>
                      <a:pt x="355" y="161"/>
                    </a:lnTo>
                    <a:close/>
                    <a:moveTo>
                      <a:pt x="355" y="0"/>
                    </a:moveTo>
                    <a:lnTo>
                      <a:pt x="383" y="1"/>
                    </a:lnTo>
                    <a:lnTo>
                      <a:pt x="399" y="3"/>
                    </a:lnTo>
                    <a:lnTo>
                      <a:pt x="426" y="8"/>
                    </a:lnTo>
                    <a:lnTo>
                      <a:pt x="453" y="14"/>
                    </a:lnTo>
                    <a:lnTo>
                      <a:pt x="467" y="19"/>
                    </a:lnTo>
                    <a:lnTo>
                      <a:pt x="493" y="29"/>
                    </a:lnTo>
                    <a:lnTo>
                      <a:pt x="517" y="41"/>
                    </a:lnTo>
                    <a:lnTo>
                      <a:pt x="530" y="48"/>
                    </a:lnTo>
                    <a:lnTo>
                      <a:pt x="553" y="62"/>
                    </a:lnTo>
                    <a:lnTo>
                      <a:pt x="574" y="78"/>
                    </a:lnTo>
                    <a:lnTo>
                      <a:pt x="586" y="88"/>
                    </a:lnTo>
                    <a:lnTo>
                      <a:pt x="606" y="106"/>
                    </a:lnTo>
                    <a:lnTo>
                      <a:pt x="624" y="127"/>
                    </a:lnTo>
                    <a:lnTo>
                      <a:pt x="633" y="138"/>
                    </a:lnTo>
                    <a:lnTo>
                      <a:pt x="649" y="160"/>
                    </a:lnTo>
                    <a:lnTo>
                      <a:pt x="663" y="182"/>
                    </a:lnTo>
                    <a:lnTo>
                      <a:pt x="670" y="196"/>
                    </a:lnTo>
                    <a:lnTo>
                      <a:pt x="682" y="221"/>
                    </a:lnTo>
                    <a:lnTo>
                      <a:pt x="691" y="247"/>
                    </a:lnTo>
                    <a:lnTo>
                      <a:pt x="696" y="262"/>
                    </a:lnTo>
                    <a:lnTo>
                      <a:pt x="703" y="289"/>
                    </a:lnTo>
                    <a:lnTo>
                      <a:pt x="707" y="316"/>
                    </a:lnTo>
                    <a:lnTo>
                      <a:pt x="709" y="333"/>
                    </a:lnTo>
                    <a:lnTo>
                      <a:pt x="710" y="362"/>
                    </a:lnTo>
                    <a:lnTo>
                      <a:pt x="709" y="390"/>
                    </a:lnTo>
                    <a:lnTo>
                      <a:pt x="707" y="407"/>
                    </a:lnTo>
                    <a:lnTo>
                      <a:pt x="703" y="434"/>
                    </a:lnTo>
                    <a:lnTo>
                      <a:pt x="696" y="461"/>
                    </a:lnTo>
                    <a:lnTo>
                      <a:pt x="691" y="476"/>
                    </a:lnTo>
                    <a:lnTo>
                      <a:pt x="682" y="502"/>
                    </a:lnTo>
                    <a:lnTo>
                      <a:pt x="670" y="527"/>
                    </a:lnTo>
                    <a:lnTo>
                      <a:pt x="663" y="541"/>
                    </a:lnTo>
                    <a:lnTo>
                      <a:pt x="649" y="564"/>
                    </a:lnTo>
                    <a:lnTo>
                      <a:pt x="633" y="586"/>
                    </a:lnTo>
                    <a:lnTo>
                      <a:pt x="624" y="598"/>
                    </a:lnTo>
                    <a:lnTo>
                      <a:pt x="606" y="618"/>
                    </a:lnTo>
                    <a:lnTo>
                      <a:pt x="586" y="636"/>
                    </a:lnTo>
                    <a:lnTo>
                      <a:pt x="574" y="646"/>
                    </a:lnTo>
                    <a:lnTo>
                      <a:pt x="553" y="662"/>
                    </a:lnTo>
                    <a:lnTo>
                      <a:pt x="530" y="676"/>
                    </a:lnTo>
                    <a:lnTo>
                      <a:pt x="517" y="683"/>
                    </a:lnTo>
                    <a:lnTo>
                      <a:pt x="493" y="695"/>
                    </a:lnTo>
                    <a:lnTo>
                      <a:pt x="467" y="705"/>
                    </a:lnTo>
                    <a:lnTo>
                      <a:pt x="453" y="710"/>
                    </a:lnTo>
                    <a:lnTo>
                      <a:pt x="426" y="717"/>
                    </a:lnTo>
                    <a:lnTo>
                      <a:pt x="399" y="721"/>
                    </a:lnTo>
                    <a:lnTo>
                      <a:pt x="383" y="723"/>
                    </a:lnTo>
                    <a:lnTo>
                      <a:pt x="355" y="724"/>
                    </a:lnTo>
                    <a:lnTo>
                      <a:pt x="327" y="723"/>
                    </a:lnTo>
                    <a:lnTo>
                      <a:pt x="311" y="721"/>
                    </a:lnTo>
                    <a:lnTo>
                      <a:pt x="284" y="717"/>
                    </a:lnTo>
                    <a:lnTo>
                      <a:pt x="257" y="710"/>
                    </a:lnTo>
                    <a:lnTo>
                      <a:pt x="243" y="705"/>
                    </a:lnTo>
                    <a:lnTo>
                      <a:pt x="217" y="695"/>
                    </a:lnTo>
                    <a:lnTo>
                      <a:pt x="193" y="683"/>
                    </a:lnTo>
                    <a:lnTo>
                      <a:pt x="180" y="676"/>
                    </a:lnTo>
                    <a:lnTo>
                      <a:pt x="157" y="662"/>
                    </a:lnTo>
                    <a:lnTo>
                      <a:pt x="136" y="646"/>
                    </a:lnTo>
                    <a:lnTo>
                      <a:pt x="124" y="636"/>
                    </a:lnTo>
                    <a:lnTo>
                      <a:pt x="104" y="618"/>
                    </a:lnTo>
                    <a:lnTo>
                      <a:pt x="86" y="598"/>
                    </a:lnTo>
                    <a:lnTo>
                      <a:pt x="77" y="586"/>
                    </a:lnTo>
                    <a:lnTo>
                      <a:pt x="61" y="564"/>
                    </a:lnTo>
                    <a:lnTo>
                      <a:pt x="47" y="541"/>
                    </a:lnTo>
                    <a:lnTo>
                      <a:pt x="40" y="527"/>
                    </a:lnTo>
                    <a:lnTo>
                      <a:pt x="28" y="502"/>
                    </a:lnTo>
                    <a:lnTo>
                      <a:pt x="19" y="476"/>
                    </a:lnTo>
                    <a:lnTo>
                      <a:pt x="14" y="461"/>
                    </a:lnTo>
                    <a:lnTo>
                      <a:pt x="7" y="434"/>
                    </a:lnTo>
                    <a:lnTo>
                      <a:pt x="3" y="407"/>
                    </a:lnTo>
                    <a:lnTo>
                      <a:pt x="1" y="390"/>
                    </a:lnTo>
                    <a:lnTo>
                      <a:pt x="0" y="362"/>
                    </a:lnTo>
                    <a:lnTo>
                      <a:pt x="1" y="333"/>
                    </a:lnTo>
                    <a:lnTo>
                      <a:pt x="3" y="316"/>
                    </a:lnTo>
                    <a:lnTo>
                      <a:pt x="7" y="289"/>
                    </a:lnTo>
                    <a:lnTo>
                      <a:pt x="14" y="262"/>
                    </a:lnTo>
                    <a:lnTo>
                      <a:pt x="19" y="247"/>
                    </a:lnTo>
                    <a:lnTo>
                      <a:pt x="28" y="221"/>
                    </a:lnTo>
                    <a:lnTo>
                      <a:pt x="40" y="196"/>
                    </a:lnTo>
                    <a:lnTo>
                      <a:pt x="47" y="182"/>
                    </a:lnTo>
                    <a:lnTo>
                      <a:pt x="61" y="160"/>
                    </a:lnTo>
                    <a:lnTo>
                      <a:pt x="77" y="138"/>
                    </a:lnTo>
                    <a:lnTo>
                      <a:pt x="86" y="127"/>
                    </a:lnTo>
                    <a:lnTo>
                      <a:pt x="104" y="106"/>
                    </a:lnTo>
                    <a:lnTo>
                      <a:pt x="124" y="88"/>
                    </a:lnTo>
                    <a:lnTo>
                      <a:pt x="136" y="78"/>
                    </a:lnTo>
                    <a:lnTo>
                      <a:pt x="157" y="62"/>
                    </a:lnTo>
                    <a:lnTo>
                      <a:pt x="180" y="48"/>
                    </a:lnTo>
                    <a:lnTo>
                      <a:pt x="193" y="41"/>
                    </a:lnTo>
                    <a:lnTo>
                      <a:pt x="217" y="29"/>
                    </a:lnTo>
                    <a:lnTo>
                      <a:pt x="243" y="19"/>
                    </a:lnTo>
                    <a:lnTo>
                      <a:pt x="257" y="14"/>
                    </a:lnTo>
                    <a:lnTo>
                      <a:pt x="284" y="8"/>
                    </a:lnTo>
                    <a:lnTo>
                      <a:pt x="311" y="3"/>
                    </a:lnTo>
                    <a:lnTo>
                      <a:pt x="327" y="1"/>
                    </a:ln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  <p:sp>
            <p:nvSpPr>
              <p:cNvPr id="68" name="Freeform 30"/>
              <p:cNvSpPr>
                <a:spLocks noEditPoints="1"/>
              </p:cNvSpPr>
              <p:nvPr/>
            </p:nvSpPr>
            <p:spPr bwMode="auto">
              <a:xfrm>
                <a:off x="2778125" y="1393826"/>
                <a:ext cx="200025" cy="420688"/>
              </a:xfrm>
              <a:custGeom>
                <a:avLst/>
                <a:gdLst>
                  <a:gd name="T0" fmla="*/ 348 w 1260"/>
                  <a:gd name="T1" fmla="*/ 161 h 2655"/>
                  <a:gd name="T2" fmla="*/ 158 w 1260"/>
                  <a:gd name="T3" fmla="*/ 355 h 2655"/>
                  <a:gd name="T4" fmla="*/ 158 w 1260"/>
                  <a:gd name="T5" fmla="*/ 1126 h 2655"/>
                  <a:gd name="T6" fmla="*/ 315 w 1260"/>
                  <a:gd name="T7" fmla="*/ 1126 h 2655"/>
                  <a:gd name="T8" fmla="*/ 394 w 1260"/>
                  <a:gd name="T9" fmla="*/ 1207 h 2655"/>
                  <a:gd name="T10" fmla="*/ 394 w 1260"/>
                  <a:gd name="T11" fmla="*/ 2494 h 2655"/>
                  <a:gd name="T12" fmla="*/ 866 w 1260"/>
                  <a:gd name="T13" fmla="*/ 2494 h 2655"/>
                  <a:gd name="T14" fmla="*/ 866 w 1260"/>
                  <a:gd name="T15" fmla="*/ 1207 h 2655"/>
                  <a:gd name="T16" fmla="*/ 945 w 1260"/>
                  <a:gd name="T17" fmla="*/ 1126 h 2655"/>
                  <a:gd name="T18" fmla="*/ 1103 w 1260"/>
                  <a:gd name="T19" fmla="*/ 1126 h 2655"/>
                  <a:gd name="T20" fmla="*/ 1103 w 1260"/>
                  <a:gd name="T21" fmla="*/ 355 h 2655"/>
                  <a:gd name="T22" fmla="*/ 912 w 1260"/>
                  <a:gd name="T23" fmla="*/ 161 h 2655"/>
                  <a:gd name="T24" fmla="*/ 348 w 1260"/>
                  <a:gd name="T25" fmla="*/ 161 h 2655"/>
                  <a:gd name="T26" fmla="*/ 315 w 1260"/>
                  <a:gd name="T27" fmla="*/ 0 h 2655"/>
                  <a:gd name="T28" fmla="*/ 945 w 1260"/>
                  <a:gd name="T29" fmla="*/ 0 h 2655"/>
                  <a:gd name="T30" fmla="*/ 1001 w 1260"/>
                  <a:gd name="T31" fmla="*/ 24 h 2655"/>
                  <a:gd name="T32" fmla="*/ 1237 w 1260"/>
                  <a:gd name="T33" fmla="*/ 265 h 2655"/>
                  <a:gd name="T34" fmla="*/ 1260 w 1260"/>
                  <a:gd name="T35" fmla="*/ 322 h 2655"/>
                  <a:gd name="T36" fmla="*/ 1260 w 1260"/>
                  <a:gd name="T37" fmla="*/ 1207 h 2655"/>
                  <a:gd name="T38" fmla="*/ 1181 w 1260"/>
                  <a:gd name="T39" fmla="*/ 1287 h 2655"/>
                  <a:gd name="T40" fmla="*/ 1024 w 1260"/>
                  <a:gd name="T41" fmla="*/ 1287 h 2655"/>
                  <a:gd name="T42" fmla="*/ 1024 w 1260"/>
                  <a:gd name="T43" fmla="*/ 2575 h 2655"/>
                  <a:gd name="T44" fmla="*/ 945 w 1260"/>
                  <a:gd name="T45" fmla="*/ 2655 h 2655"/>
                  <a:gd name="T46" fmla="*/ 315 w 1260"/>
                  <a:gd name="T47" fmla="*/ 2655 h 2655"/>
                  <a:gd name="T48" fmla="*/ 236 w 1260"/>
                  <a:gd name="T49" fmla="*/ 2575 h 2655"/>
                  <a:gd name="T50" fmla="*/ 236 w 1260"/>
                  <a:gd name="T51" fmla="*/ 1287 h 2655"/>
                  <a:gd name="T52" fmla="*/ 79 w 1260"/>
                  <a:gd name="T53" fmla="*/ 1287 h 2655"/>
                  <a:gd name="T54" fmla="*/ 0 w 1260"/>
                  <a:gd name="T55" fmla="*/ 1207 h 2655"/>
                  <a:gd name="T56" fmla="*/ 0 w 1260"/>
                  <a:gd name="T57" fmla="*/ 322 h 2655"/>
                  <a:gd name="T58" fmla="*/ 23 w 1260"/>
                  <a:gd name="T59" fmla="*/ 265 h 2655"/>
                  <a:gd name="T60" fmla="*/ 259 w 1260"/>
                  <a:gd name="T61" fmla="*/ 24 h 2655"/>
                  <a:gd name="T62" fmla="*/ 315 w 1260"/>
                  <a:gd name="T63" fmla="*/ 0 h 2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60" h="2655">
                    <a:moveTo>
                      <a:pt x="348" y="161"/>
                    </a:moveTo>
                    <a:lnTo>
                      <a:pt x="158" y="355"/>
                    </a:lnTo>
                    <a:lnTo>
                      <a:pt x="158" y="1126"/>
                    </a:lnTo>
                    <a:lnTo>
                      <a:pt x="315" y="1126"/>
                    </a:lnTo>
                    <a:lnTo>
                      <a:pt x="394" y="1207"/>
                    </a:lnTo>
                    <a:lnTo>
                      <a:pt x="394" y="2494"/>
                    </a:lnTo>
                    <a:lnTo>
                      <a:pt x="866" y="2494"/>
                    </a:lnTo>
                    <a:lnTo>
                      <a:pt x="866" y="1207"/>
                    </a:lnTo>
                    <a:lnTo>
                      <a:pt x="945" y="1126"/>
                    </a:lnTo>
                    <a:lnTo>
                      <a:pt x="1103" y="1126"/>
                    </a:lnTo>
                    <a:lnTo>
                      <a:pt x="1103" y="355"/>
                    </a:lnTo>
                    <a:lnTo>
                      <a:pt x="912" y="161"/>
                    </a:lnTo>
                    <a:lnTo>
                      <a:pt x="348" y="161"/>
                    </a:lnTo>
                    <a:close/>
                    <a:moveTo>
                      <a:pt x="315" y="0"/>
                    </a:moveTo>
                    <a:lnTo>
                      <a:pt x="945" y="0"/>
                    </a:lnTo>
                    <a:lnTo>
                      <a:pt x="1001" y="24"/>
                    </a:lnTo>
                    <a:lnTo>
                      <a:pt x="1237" y="265"/>
                    </a:lnTo>
                    <a:lnTo>
                      <a:pt x="1260" y="322"/>
                    </a:lnTo>
                    <a:lnTo>
                      <a:pt x="1260" y="1207"/>
                    </a:lnTo>
                    <a:lnTo>
                      <a:pt x="1181" y="1287"/>
                    </a:lnTo>
                    <a:lnTo>
                      <a:pt x="1024" y="1287"/>
                    </a:lnTo>
                    <a:lnTo>
                      <a:pt x="1024" y="2575"/>
                    </a:lnTo>
                    <a:lnTo>
                      <a:pt x="945" y="2655"/>
                    </a:lnTo>
                    <a:lnTo>
                      <a:pt x="315" y="2655"/>
                    </a:lnTo>
                    <a:lnTo>
                      <a:pt x="236" y="2575"/>
                    </a:lnTo>
                    <a:lnTo>
                      <a:pt x="236" y="1287"/>
                    </a:lnTo>
                    <a:lnTo>
                      <a:pt x="79" y="1287"/>
                    </a:lnTo>
                    <a:lnTo>
                      <a:pt x="0" y="1207"/>
                    </a:lnTo>
                    <a:lnTo>
                      <a:pt x="0" y="322"/>
                    </a:lnTo>
                    <a:lnTo>
                      <a:pt x="23" y="265"/>
                    </a:lnTo>
                    <a:lnTo>
                      <a:pt x="259" y="24"/>
                    </a:lnTo>
                    <a:lnTo>
                      <a:pt x="3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4" tIns="45712" rIns="91424" bIns="45712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/>
              </a:p>
            </p:txBody>
          </p:sp>
        </p:grpSp>
        <p:sp>
          <p:nvSpPr>
            <p:cNvPr id="15" name="Rectangle 14"/>
            <p:cNvSpPr/>
            <p:nvPr/>
          </p:nvSpPr>
          <p:spPr bwMode="gray">
            <a:xfrm>
              <a:off x="1153090" y="3265221"/>
              <a:ext cx="60325" cy="603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2140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TU">
      <a:dk1>
        <a:srgbClr val="000000"/>
      </a:dk1>
      <a:lt1>
        <a:srgbClr val="FFFFFF"/>
      </a:lt1>
      <a:dk2>
        <a:srgbClr val="990000"/>
      </a:dk2>
      <a:lt2>
        <a:srgbClr val="79238E"/>
      </a:lt2>
      <a:accent1>
        <a:srgbClr val="990000"/>
      </a:accent1>
      <a:accent2>
        <a:srgbClr val="2F3EEA"/>
      </a:accent2>
      <a:accent3>
        <a:srgbClr val="1FD082"/>
      </a:accent3>
      <a:accent4>
        <a:srgbClr val="171748"/>
      </a:accent4>
      <a:accent5>
        <a:srgbClr val="F6D04D"/>
      </a:accent5>
      <a:accent6>
        <a:srgbClr val="FC7634"/>
      </a:accent6>
      <a:hlink>
        <a:srgbClr val="2F3EEA"/>
      </a:hlink>
      <a:folHlink>
        <a:srgbClr val="990000"/>
      </a:folHlink>
    </a:clrScheme>
    <a:fontScheme name="DT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432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+mn-lt"/>
            <a:ea typeface="ＭＳ Ｐゴシック" pitchFamily="-80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432"/>
          </a:spcBef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B38FA3B-2246-40E5-A61A-EA1559A3CD76}" vid="{D5F764FD-A73C-4B6C-BF48-3536DEB79AD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7486369128185","version":"1.2"}]]></TemplafySlideTemplate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FormConfiguration><![CDATA[{"formFields":[{"required":false,"type":"datePicker","name":"Date","label":"Date","helpTexts":{"prefix":"","postfix":""},"spacing":{},"fullyQualifiedName":"Date"},{"required":false,"placeholder":"","lines":0,"type":"textBox","name":"PresentationTitle","label":"Presentation title","helpTexts":{"prefix":"","postfix":""},"spacing":{},"fullyQualifiedName":"PresentationTitle"}],"formDataEntries":[{"name":"Date","value":"4Xm7d242HGo446IH5nRjQA=="},{"name":"PresentationTitle","value":"ZR/I84ubq+6CkRKNk7nn9w=="}]}]]></TemplafyFormConfiguration>
</file>

<file path=customXml/item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7486366003040","version":"1.2"}]]></TemplafySlideTemplate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TemplateConfiguration><![CDATA[{"elementsMetadata":[{"type":"shape","id":"2fce62a0-f28a-44e1-a519-0cbe37b25f7a","elementConfiguration":{"binding":"UserProfile.Offices.Workarea_{{DocumentLanguage}}","disableUpdates":false,"type":"text"}},{"type":"shape","id":"58465eeb-cfe0-4970-97ec-88179dc0a9c2","elementConfiguration":{"binding":"Form.Date","format":"{{DateFormats.GeneralDate}}","disableUpdates":false,"type":"date"}},{"type":"shape","id":"5020bdfb-1912-4d6d-a5c3-71b7da283692","elementConfiguration":{"binding":"Form.PresentationTitle","disableUpdates":false,"type":"text"}},{"type":"shape","id":"8d5b95d1-8a23-4044-9620-bf5e7305a170","elementConfiguration":{"binding":"UserProfile.Offices.Workarea_{{DocumentLanguage}}","disableUpdates":false,"type":"text"}},{"type":"shape","id":"79fbb3c3-dd89-47ef-91e9-e0bd2bb0942f","elementConfiguration":{"binding":"Form.Date","format":"{{DateFormats.GeneralDate}}","disableUpdates":false,"type":"date"}},{"type":"shape","id":"5e9447ba-0dff-46ec-ac33-540c046ca40a","elementConfiguration":{"binding":"Form.PresentationTitle","disableUpdates":false,"type":"text"}}],"transformationConfigurations":[{"language":"{{DocumentLanguage}}","disableUpdates":false,"type":"proofingLanguage"}],"enableDocumentContentUpdater":true,"templateName":"DTU Template 16_9 - Corporate red","templateDescription":"","version":"1.2"}]]></Templafy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204140473DBED4A8147D0B3F233126B" ma:contentTypeVersion="10" ma:contentTypeDescription="Opret et nyt dokument." ma:contentTypeScope="" ma:versionID="a29f47f36c72f13124468f220c4d5360">
  <xsd:schema xmlns:xsd="http://www.w3.org/2001/XMLSchema" xmlns:xs="http://www.w3.org/2001/XMLSchema" xmlns:p="http://schemas.microsoft.com/office/2006/metadata/properties" xmlns:ns3="6d5176c5-17ce-4d03-a978-84a97e2ad3f0" targetNamespace="http://schemas.microsoft.com/office/2006/metadata/properties" ma:root="true" ma:fieldsID="7d3fef799a5451550844194a72454b6d" ns3:_="">
    <xsd:import namespace="6d5176c5-17ce-4d03-a978-84a97e2ad3f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5176c5-17ce-4d03-a978-84a97e2ad3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FAAC39-0A3A-4CC2-A9C1-60940B78AE17}">
  <ds:schemaRefs/>
</ds:datastoreItem>
</file>

<file path=customXml/itemProps2.xml><?xml version="1.0" encoding="utf-8"?>
<ds:datastoreItem xmlns:ds="http://schemas.openxmlformats.org/officeDocument/2006/customXml" ds:itemID="{1678FD68-3F16-4323-BBD7-E8EFA917C63E}">
  <ds:schemaRefs>
    <ds:schemaRef ds:uri="6d5176c5-17ce-4d03-a978-84a97e2ad3f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6C8BFB2-A911-4310-9D4A-421D773FAFA6}">
  <ds:schemaRefs/>
</ds:datastoreItem>
</file>

<file path=customXml/itemProps4.xml><?xml version="1.0" encoding="utf-8"?>
<ds:datastoreItem xmlns:ds="http://schemas.openxmlformats.org/officeDocument/2006/customXml" ds:itemID="{05DC2B94-7C1B-4C14-83B0-9CD2A82C27E0}">
  <ds:schemaRefs/>
</ds:datastoreItem>
</file>

<file path=customXml/itemProps5.xml><?xml version="1.0" encoding="utf-8"?>
<ds:datastoreItem xmlns:ds="http://schemas.openxmlformats.org/officeDocument/2006/customXml" ds:itemID="{E5957E33-0059-46CE-AE7B-582F67E40B53}">
  <ds:schemaRefs/>
</ds:datastoreItem>
</file>

<file path=customXml/itemProps6.xml><?xml version="1.0" encoding="utf-8"?>
<ds:datastoreItem xmlns:ds="http://schemas.openxmlformats.org/officeDocument/2006/customXml" ds:itemID="{89463071-9B7F-4552-9A7C-21FAA50BCAF5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1334258C-C3E7-4029-A615-C886A240FB15}">
  <ds:schemaRefs/>
</ds:datastoreItem>
</file>

<file path=customXml/itemProps8.xml><?xml version="1.0" encoding="utf-8"?>
<ds:datastoreItem xmlns:ds="http://schemas.openxmlformats.org/officeDocument/2006/customXml" ds:itemID="{8660AB89-308F-4A34-B01B-CC1A9333F1B1}">
  <ds:schemaRefs/>
</ds:datastoreItem>
</file>

<file path=customXml/itemProps9.xml><?xml version="1.0" encoding="utf-8"?>
<ds:datastoreItem xmlns:ds="http://schemas.openxmlformats.org/officeDocument/2006/customXml" ds:itemID="{48199F3F-7929-4868-BA95-08749FB5D0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5176c5-17ce-4d03-a978-84a97e2ad3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</TotalTime>
  <Words>106</Words>
  <Application>Microsoft Office PowerPoint</Application>
  <PresentationFormat>Custom</PresentationFormat>
  <Paragraphs>1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ＭＳ Ｐゴシック</vt:lpstr>
      <vt:lpstr>ABBvoice</vt:lpstr>
      <vt:lpstr>ABBvoiceOffice</vt:lpstr>
      <vt:lpstr>Arial</vt:lpstr>
      <vt:lpstr>Verdana</vt:lpstr>
      <vt:lpstr>Blank</vt:lpstr>
      <vt:lpstr>think-cell Slide</vt:lpstr>
      <vt:lpstr>PowerPoint Presentation</vt:lpstr>
      <vt:lpstr> Safety Moment Sikkerhed ved kørsel i bil og i trafikken </vt:lpstr>
    </vt:vector>
  </TitlesOfParts>
  <Company>DT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s Villadsen</dc:creator>
  <cp:lastModifiedBy>Leif Leon Warner</cp:lastModifiedBy>
  <cp:revision>3</cp:revision>
  <dcterms:created xsi:type="dcterms:W3CDTF">2021-01-04T11:08:34Z</dcterms:created>
  <dcterms:modified xsi:type="dcterms:W3CDTF">2021-01-10T16:5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dIsCodeFreeTemplate">
    <vt:lpwstr>True</vt:lpwstr>
  </property>
  <property fmtid="{D5CDD505-2E9C-101B-9397-08002B2CF9AE}" pid="3" name="TemplafyTenantId">
    <vt:lpwstr>dtu</vt:lpwstr>
  </property>
  <property fmtid="{D5CDD505-2E9C-101B-9397-08002B2CF9AE}" pid="4" name="TemplafyTemplateId">
    <vt:lpwstr>636784030496976655</vt:lpwstr>
  </property>
  <property fmtid="{D5CDD505-2E9C-101B-9397-08002B2CF9AE}" pid="5" name="TemplafyUserProfileId">
    <vt:lpwstr>636838302414865013</vt:lpwstr>
  </property>
  <property fmtid="{D5CDD505-2E9C-101B-9397-08002B2CF9AE}" pid="6" name="TemplafyLanguageCode">
    <vt:lpwstr>en-GB</vt:lpwstr>
  </property>
  <property fmtid="{D5CDD505-2E9C-101B-9397-08002B2CF9AE}" pid="7" name="ContentTypeId">
    <vt:lpwstr>0x0101008204140473DBED4A8147D0B3F233126B</vt:lpwstr>
  </property>
</Properties>
</file>